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6" r:id="rId1"/>
  </p:sldMasterIdLst>
  <p:notesMasterIdLst>
    <p:notesMasterId r:id="rId18"/>
  </p:notesMasterIdLst>
  <p:handoutMasterIdLst>
    <p:handoutMasterId r:id="rId19"/>
  </p:handoutMasterIdLst>
  <p:sldIdLst>
    <p:sldId id="357" r:id="rId2"/>
    <p:sldId id="372" r:id="rId3"/>
    <p:sldId id="373" r:id="rId4"/>
    <p:sldId id="374" r:id="rId5"/>
    <p:sldId id="375" r:id="rId6"/>
    <p:sldId id="362" r:id="rId7"/>
    <p:sldId id="363" r:id="rId8"/>
    <p:sldId id="359" r:id="rId9"/>
    <p:sldId id="360" r:id="rId10"/>
    <p:sldId id="364" r:id="rId11"/>
    <p:sldId id="365" r:id="rId12"/>
    <p:sldId id="368" r:id="rId13"/>
    <p:sldId id="369" r:id="rId14"/>
    <p:sldId id="367" r:id="rId15"/>
    <p:sldId id="370" r:id="rId16"/>
    <p:sldId id="371" r:id="rId17"/>
  </p:sldIdLst>
  <p:sldSz cx="12195175" cy="6858000"/>
  <p:notesSz cx="6797675" cy="9926638"/>
  <p:custDataLst>
    <p:tags r:id="rId20"/>
  </p:custDataLst>
  <p:defaultTextStyle>
    <a:defPPr>
      <a:defRPr lang="de-DE"/>
    </a:defPPr>
    <a:lvl1pPr marL="0" indent="0" algn="l" rtl="0" eaLnBrk="1" latinLnBrk="0" hangingPunct="1">
      <a:spcBef>
        <a:spcPts val="600"/>
      </a:spcBef>
      <a:buClr>
        <a:schemeClr val="accent1"/>
      </a:buClr>
      <a:buSzPct val="100000"/>
      <a:buFontTx/>
      <a:buNone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rtl="0" eaLnBrk="1" latinLnBrk="0" hangingPunct="1">
      <a:spcBef>
        <a:spcPts val="533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17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rtl="0" eaLnBrk="1" latinLnBrk="0" hangingPunct="1">
      <a:spcBef>
        <a:spcPts val="400"/>
      </a:spcBef>
      <a:buClr>
        <a:schemeClr val="accent2"/>
      </a:buClr>
      <a:buSzPct val="100000"/>
      <a:buFont typeface="Arial"/>
      <a:buChar char="•"/>
      <a:tabLst/>
      <a:defRPr kumimoji="0" sz="1700" kern="1200">
        <a:solidFill>
          <a:schemeClr val="accent2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A6C715-1CBD-4D8B-99F9-0CBCA0E1D1D2}" v="43" dt="2023-06-13T08:23:50.882"/>
  </p1510:revLst>
</p1510:revInfo>
</file>

<file path=ppt/tableStyles.xml><?xml version="1.0" encoding="utf-8"?>
<a:tblStyleLst xmlns:a="http://schemas.openxmlformats.org/drawingml/2006/main" def="{38C5B665-69BD-426E-A550-B265C7F8A23D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8C5B665-69BD-426E-A550-B265C7F8A23D}" styleName="Dräxlmaier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9252" cmpd="sng">
              <a:solidFill>
                <a:srgbClr val="C3C6CA"/>
              </a:solidFill>
            </a:ln>
          </a:insideH>
          <a:insideV>
            <a:ln w="9252" cmpd="sng">
              <a:solidFill>
                <a:srgbClr val="C3C6CA"/>
              </a:solidFill>
            </a:ln>
          </a:insideV>
        </a:tcBdr>
      </a:tcStyle>
    </a:wholeTbl>
    <a:band1H>
      <a:tcStyle>
        <a:tcBdr/>
      </a:tcStyle>
    </a:band1H>
    <a:band2H>
      <a:tcStyle>
        <a:tcBdr/>
        <a:fill>
          <a:solidFill>
            <a:srgbClr val="E1E3E4"/>
          </a:solidFill>
        </a:fill>
      </a:tcStyle>
    </a:band2H>
    <a:band1V>
      <a:tcStyle>
        <a:tcBdr/>
      </a:tcStyle>
    </a:band1V>
    <a:band2V>
      <a:tcStyle>
        <a:tcBdr/>
        <a:fill>
          <a:solidFill>
            <a:srgbClr val="E1E3E4"/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9050" cmpd="sng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rgbClr val="C3C6CA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869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63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55" d="100"/>
          <a:sy n="55" d="100"/>
        </p:scale>
        <p:origin x="2794" y="4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cker Werner OG11" userId="e8270ec5-2b29-421d-a1c9-a2d54bad9b61" providerId="ADAL" clId="{DBA6C715-1CBD-4D8B-99F9-0CBCA0E1D1D2}"/>
    <pc:docChg chg="undo custSel addSld delSld modSld sldOrd">
      <pc:chgData name="Becker Werner OG11" userId="e8270ec5-2b29-421d-a1c9-a2d54bad9b61" providerId="ADAL" clId="{DBA6C715-1CBD-4D8B-99F9-0CBCA0E1D1D2}" dt="2023-06-13T08:24:57.002" v="1306" actId="1076"/>
      <pc:docMkLst>
        <pc:docMk/>
      </pc:docMkLst>
      <pc:sldChg chg="del">
        <pc:chgData name="Becker Werner OG11" userId="e8270ec5-2b29-421d-a1c9-a2d54bad9b61" providerId="ADAL" clId="{DBA6C715-1CBD-4D8B-99F9-0CBCA0E1D1D2}" dt="2023-05-26T13:28:22.738" v="626" actId="47"/>
        <pc:sldMkLst>
          <pc:docMk/>
          <pc:sldMk cId="1370444353" sldId="355"/>
        </pc:sldMkLst>
      </pc:sldChg>
      <pc:sldChg chg="modSp del mod">
        <pc:chgData name="Becker Werner OG11" userId="e8270ec5-2b29-421d-a1c9-a2d54bad9b61" providerId="ADAL" clId="{DBA6C715-1CBD-4D8B-99F9-0CBCA0E1D1D2}" dt="2023-05-26T13:28:21.751" v="625" actId="47"/>
        <pc:sldMkLst>
          <pc:docMk/>
          <pc:sldMk cId="3143822047" sldId="356"/>
        </pc:sldMkLst>
        <pc:spChg chg="mod">
          <ac:chgData name="Becker Werner OG11" userId="e8270ec5-2b29-421d-a1c9-a2d54bad9b61" providerId="ADAL" clId="{DBA6C715-1CBD-4D8B-99F9-0CBCA0E1D1D2}" dt="2023-05-26T13:09:35.988" v="38" actId="20577"/>
          <ac:spMkLst>
            <pc:docMk/>
            <pc:sldMk cId="3143822047" sldId="356"/>
            <ac:spMk id="9" creationId="{CBC068E0-7515-4EA6-91F5-FCBB949AB41D}"/>
          </ac:spMkLst>
        </pc:spChg>
        <pc:picChg chg="mod">
          <ac:chgData name="Becker Werner OG11" userId="e8270ec5-2b29-421d-a1c9-a2d54bad9b61" providerId="ADAL" clId="{DBA6C715-1CBD-4D8B-99F9-0CBCA0E1D1D2}" dt="2023-05-26T13:09:50.350" v="39" actId="1076"/>
          <ac:picMkLst>
            <pc:docMk/>
            <pc:sldMk cId="3143822047" sldId="356"/>
            <ac:picMk id="8" creationId="{1C301F6E-92D1-4D53-9A7B-83F6BDF0DA21}"/>
          </ac:picMkLst>
        </pc:picChg>
      </pc:sldChg>
      <pc:sldChg chg="addSp delSp modSp mod">
        <pc:chgData name="Becker Werner OG11" userId="e8270ec5-2b29-421d-a1c9-a2d54bad9b61" providerId="ADAL" clId="{DBA6C715-1CBD-4D8B-99F9-0CBCA0E1D1D2}" dt="2023-06-13T08:06:49.018" v="1086" actId="20577"/>
        <pc:sldMkLst>
          <pc:docMk/>
          <pc:sldMk cId="128622649" sldId="357"/>
        </pc:sldMkLst>
        <pc:spChg chg="mod">
          <ac:chgData name="Becker Werner OG11" userId="e8270ec5-2b29-421d-a1c9-a2d54bad9b61" providerId="ADAL" clId="{DBA6C715-1CBD-4D8B-99F9-0CBCA0E1D1D2}" dt="2023-06-13T08:06:49.018" v="1086" actId="20577"/>
          <ac:spMkLst>
            <pc:docMk/>
            <pc:sldMk cId="128622649" sldId="357"/>
            <ac:spMk id="2" creationId="{46AA07C9-2345-4C1B-92E4-C348F1EDFD13}"/>
          </ac:spMkLst>
        </pc:spChg>
        <pc:spChg chg="del">
          <ac:chgData name="Becker Werner OG11" userId="e8270ec5-2b29-421d-a1c9-a2d54bad9b61" providerId="ADAL" clId="{DBA6C715-1CBD-4D8B-99F9-0CBCA0E1D1D2}" dt="2023-05-26T13:23:45.844" v="502" actId="478"/>
          <ac:spMkLst>
            <pc:docMk/>
            <pc:sldMk cId="128622649" sldId="357"/>
            <ac:spMk id="4" creationId="{850C89BD-BF87-45F2-8B82-AB94F8CFB681}"/>
          </ac:spMkLst>
        </pc:spChg>
        <pc:spChg chg="del">
          <ac:chgData name="Becker Werner OG11" userId="e8270ec5-2b29-421d-a1c9-a2d54bad9b61" providerId="ADAL" clId="{DBA6C715-1CBD-4D8B-99F9-0CBCA0E1D1D2}" dt="2023-05-26T13:10:25.533" v="45" actId="478"/>
          <ac:spMkLst>
            <pc:docMk/>
            <pc:sldMk cId="128622649" sldId="357"/>
            <ac:spMk id="5" creationId="{4FE2DFFD-98F4-41C8-8788-1DAD53C1D6C5}"/>
          </ac:spMkLst>
        </pc:spChg>
        <pc:spChg chg="add del mod">
          <ac:chgData name="Becker Werner OG11" userId="e8270ec5-2b29-421d-a1c9-a2d54bad9b61" providerId="ADAL" clId="{DBA6C715-1CBD-4D8B-99F9-0CBCA0E1D1D2}" dt="2023-05-26T13:10:16.853" v="43" actId="478"/>
          <ac:spMkLst>
            <pc:docMk/>
            <pc:sldMk cId="128622649" sldId="357"/>
            <ac:spMk id="7" creationId="{86E595A8-6996-AC3E-5FA6-330FD56AAE89}"/>
          </ac:spMkLst>
        </pc:spChg>
        <pc:spChg chg="add del mod">
          <ac:chgData name="Becker Werner OG11" userId="e8270ec5-2b29-421d-a1c9-a2d54bad9b61" providerId="ADAL" clId="{DBA6C715-1CBD-4D8B-99F9-0CBCA0E1D1D2}" dt="2023-05-26T13:10:15.457" v="42" actId="478"/>
          <ac:spMkLst>
            <pc:docMk/>
            <pc:sldMk cId="128622649" sldId="357"/>
            <ac:spMk id="8" creationId="{B8E04D92-58AF-343E-45AD-C594C3B8BD84}"/>
          </ac:spMkLst>
        </pc:spChg>
        <pc:spChg chg="del">
          <ac:chgData name="Becker Werner OG11" userId="e8270ec5-2b29-421d-a1c9-a2d54bad9b61" providerId="ADAL" clId="{DBA6C715-1CBD-4D8B-99F9-0CBCA0E1D1D2}" dt="2023-05-26T13:10:12.325" v="40" actId="478"/>
          <ac:spMkLst>
            <pc:docMk/>
            <pc:sldMk cId="128622649" sldId="357"/>
            <ac:spMk id="9" creationId="{CBC068E0-7515-4EA6-91F5-FCBB949AB41D}"/>
          </ac:spMkLst>
        </pc:spChg>
        <pc:spChg chg="add mod">
          <ac:chgData name="Becker Werner OG11" userId="e8270ec5-2b29-421d-a1c9-a2d54bad9b61" providerId="ADAL" clId="{DBA6C715-1CBD-4D8B-99F9-0CBCA0E1D1D2}" dt="2023-06-06T09:27:19.323" v="751" actId="20577"/>
          <ac:spMkLst>
            <pc:docMk/>
            <pc:sldMk cId="128622649" sldId="357"/>
            <ac:spMk id="10" creationId="{5D2ACAD7-49C4-F652-EFF1-0740A6A36F5A}"/>
          </ac:spMkLst>
        </pc:spChg>
        <pc:spChg chg="mod topLvl">
          <ac:chgData name="Becker Werner OG11" userId="e8270ec5-2b29-421d-a1c9-a2d54bad9b61" providerId="ADAL" clId="{DBA6C715-1CBD-4D8B-99F9-0CBCA0E1D1D2}" dt="2023-05-26T13:13:40.280" v="178" actId="164"/>
          <ac:spMkLst>
            <pc:docMk/>
            <pc:sldMk cId="128622649" sldId="357"/>
            <ac:spMk id="12" creationId="{57D75578-0607-4C51-8BB2-A84597762E02}"/>
          </ac:spMkLst>
        </pc:spChg>
        <pc:spChg chg="mod topLvl">
          <ac:chgData name="Becker Werner OG11" userId="e8270ec5-2b29-421d-a1c9-a2d54bad9b61" providerId="ADAL" clId="{DBA6C715-1CBD-4D8B-99F9-0CBCA0E1D1D2}" dt="2023-05-26T13:13:40.280" v="178" actId="164"/>
          <ac:spMkLst>
            <pc:docMk/>
            <pc:sldMk cId="128622649" sldId="357"/>
            <ac:spMk id="13" creationId="{FEAC95EF-3A7C-4B68-9BF3-EEFB0803F590}"/>
          </ac:spMkLst>
        </pc:spChg>
        <pc:spChg chg="mod topLvl">
          <ac:chgData name="Becker Werner OG11" userId="e8270ec5-2b29-421d-a1c9-a2d54bad9b61" providerId="ADAL" clId="{DBA6C715-1CBD-4D8B-99F9-0CBCA0E1D1D2}" dt="2023-05-26T13:13:40.280" v="178" actId="164"/>
          <ac:spMkLst>
            <pc:docMk/>
            <pc:sldMk cId="128622649" sldId="357"/>
            <ac:spMk id="14" creationId="{85715644-0563-44ED-AF3C-5B61D1AAD9F7}"/>
          </ac:spMkLst>
        </pc:spChg>
        <pc:spChg chg="mod topLvl">
          <ac:chgData name="Becker Werner OG11" userId="e8270ec5-2b29-421d-a1c9-a2d54bad9b61" providerId="ADAL" clId="{DBA6C715-1CBD-4D8B-99F9-0CBCA0E1D1D2}" dt="2023-05-26T13:13:45.512" v="179" actId="1076"/>
          <ac:spMkLst>
            <pc:docMk/>
            <pc:sldMk cId="128622649" sldId="357"/>
            <ac:spMk id="15" creationId="{DD0FD289-7F0E-4B57-8CE3-290DFE242EA8}"/>
          </ac:spMkLst>
        </pc:spChg>
        <pc:spChg chg="mod topLvl">
          <ac:chgData name="Becker Werner OG11" userId="e8270ec5-2b29-421d-a1c9-a2d54bad9b61" providerId="ADAL" clId="{DBA6C715-1CBD-4D8B-99F9-0CBCA0E1D1D2}" dt="2023-05-26T13:13:40.280" v="178" actId="164"/>
          <ac:spMkLst>
            <pc:docMk/>
            <pc:sldMk cId="128622649" sldId="357"/>
            <ac:spMk id="16" creationId="{07759967-67BC-4AFC-859D-68A89CFD1265}"/>
          </ac:spMkLst>
        </pc:spChg>
        <pc:spChg chg="del">
          <ac:chgData name="Becker Werner OG11" userId="e8270ec5-2b29-421d-a1c9-a2d54bad9b61" providerId="ADAL" clId="{DBA6C715-1CBD-4D8B-99F9-0CBCA0E1D1D2}" dt="2023-05-26T13:11:29.071" v="96" actId="478"/>
          <ac:spMkLst>
            <pc:docMk/>
            <pc:sldMk cId="128622649" sldId="357"/>
            <ac:spMk id="17" creationId="{933ABA91-6DF8-4353-BC62-E8CD65C93B30}"/>
          </ac:spMkLst>
        </pc:spChg>
        <pc:spChg chg="del">
          <ac:chgData name="Becker Werner OG11" userId="e8270ec5-2b29-421d-a1c9-a2d54bad9b61" providerId="ADAL" clId="{DBA6C715-1CBD-4D8B-99F9-0CBCA0E1D1D2}" dt="2023-05-26T13:11:30.718" v="97" actId="478"/>
          <ac:spMkLst>
            <pc:docMk/>
            <pc:sldMk cId="128622649" sldId="357"/>
            <ac:spMk id="18" creationId="{5CD2A7C9-73E7-4625-AA67-2E40E5566670}"/>
          </ac:spMkLst>
        </pc:spChg>
        <pc:spChg chg="del">
          <ac:chgData name="Becker Werner OG11" userId="e8270ec5-2b29-421d-a1c9-a2d54bad9b61" providerId="ADAL" clId="{DBA6C715-1CBD-4D8B-99F9-0CBCA0E1D1D2}" dt="2023-05-26T13:11:32.125" v="98" actId="478"/>
          <ac:spMkLst>
            <pc:docMk/>
            <pc:sldMk cId="128622649" sldId="357"/>
            <ac:spMk id="19" creationId="{6AB1D1FF-BF1B-498A-A003-DA44CCD0AF11}"/>
          </ac:spMkLst>
        </pc:spChg>
        <pc:spChg chg="del">
          <ac:chgData name="Becker Werner OG11" userId="e8270ec5-2b29-421d-a1c9-a2d54bad9b61" providerId="ADAL" clId="{DBA6C715-1CBD-4D8B-99F9-0CBCA0E1D1D2}" dt="2023-05-26T13:14:01.734" v="184" actId="478"/>
          <ac:spMkLst>
            <pc:docMk/>
            <pc:sldMk cId="128622649" sldId="357"/>
            <ac:spMk id="21" creationId="{E49985E4-635D-4BD9-ADF9-FF428506E870}"/>
          </ac:spMkLst>
        </pc:spChg>
        <pc:spChg chg="del">
          <ac:chgData name="Becker Werner OG11" userId="e8270ec5-2b29-421d-a1c9-a2d54bad9b61" providerId="ADAL" clId="{DBA6C715-1CBD-4D8B-99F9-0CBCA0E1D1D2}" dt="2023-05-26T13:10:47.746" v="58" actId="478"/>
          <ac:spMkLst>
            <pc:docMk/>
            <pc:sldMk cId="128622649" sldId="357"/>
            <ac:spMk id="22" creationId="{7BC2DF37-CBEB-462D-9C22-FECC89F8C5A6}"/>
          </ac:spMkLst>
        </pc:spChg>
        <pc:spChg chg="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23" creationId="{1C9B4A64-325F-4627-8967-A4B54C929A65}"/>
          </ac:spMkLst>
        </pc:spChg>
        <pc:spChg chg="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24" creationId="{73BBA9B6-7FDA-48C9-8ADE-9CDBE189E543}"/>
          </ac:spMkLst>
        </pc:spChg>
        <pc:spChg chg="del">
          <ac:chgData name="Becker Werner OG11" userId="e8270ec5-2b29-421d-a1c9-a2d54bad9b61" providerId="ADAL" clId="{DBA6C715-1CBD-4D8B-99F9-0CBCA0E1D1D2}" dt="2023-05-26T13:10:33.580" v="50" actId="478"/>
          <ac:spMkLst>
            <pc:docMk/>
            <pc:sldMk cId="128622649" sldId="357"/>
            <ac:spMk id="25" creationId="{D5AF7F48-11B1-46C3-B862-148AC369ACEE}"/>
          </ac:spMkLst>
        </pc:spChg>
        <pc:spChg chg="del">
          <ac:chgData name="Becker Werner OG11" userId="e8270ec5-2b29-421d-a1c9-a2d54bad9b61" providerId="ADAL" clId="{DBA6C715-1CBD-4D8B-99F9-0CBCA0E1D1D2}" dt="2023-05-26T13:10:34.317" v="51" actId="478"/>
          <ac:spMkLst>
            <pc:docMk/>
            <pc:sldMk cId="128622649" sldId="357"/>
            <ac:spMk id="26" creationId="{5FDD333A-8205-458B-935E-0A19591E8CBF}"/>
          </ac:spMkLst>
        </pc:spChg>
        <pc:spChg chg="add mod">
          <ac:chgData name="Becker Werner OG11" userId="e8270ec5-2b29-421d-a1c9-a2d54bad9b61" providerId="ADAL" clId="{DBA6C715-1CBD-4D8B-99F9-0CBCA0E1D1D2}" dt="2023-05-26T13:17:43.836" v="282" actId="164"/>
          <ac:spMkLst>
            <pc:docMk/>
            <pc:sldMk cId="128622649" sldId="357"/>
            <ac:spMk id="27" creationId="{99433252-0277-989A-744F-3AE8C11C875B}"/>
          </ac:spMkLst>
        </pc:spChg>
        <pc:spChg chg="del mod">
          <ac:chgData name="Becker Werner OG11" userId="e8270ec5-2b29-421d-a1c9-a2d54bad9b61" providerId="ADAL" clId="{DBA6C715-1CBD-4D8B-99F9-0CBCA0E1D1D2}" dt="2023-05-26T13:10:40.148" v="55" actId="478"/>
          <ac:spMkLst>
            <pc:docMk/>
            <pc:sldMk cId="128622649" sldId="357"/>
            <ac:spMk id="29" creationId="{950A24BC-72EF-45A0-A14C-F0F4A4F62A99}"/>
          </ac:spMkLst>
        </pc:spChg>
        <pc:spChg chg="add mod">
          <ac:chgData name="Becker Werner OG11" userId="e8270ec5-2b29-421d-a1c9-a2d54bad9b61" providerId="ADAL" clId="{DBA6C715-1CBD-4D8B-99F9-0CBCA0E1D1D2}" dt="2023-05-26T13:18:58.006" v="318" actId="20577"/>
          <ac:spMkLst>
            <pc:docMk/>
            <pc:sldMk cId="128622649" sldId="357"/>
            <ac:spMk id="30" creationId="{F09CFAB7-CA13-4107-27B2-7CDF4F5E2158}"/>
          </ac:spMkLst>
        </pc:spChg>
        <pc:spChg chg="add del mod">
          <ac:chgData name="Becker Werner OG11" userId="e8270ec5-2b29-421d-a1c9-a2d54bad9b61" providerId="ADAL" clId="{DBA6C715-1CBD-4D8B-99F9-0CBCA0E1D1D2}" dt="2023-05-26T13:17:46.564" v="283" actId="478"/>
          <ac:spMkLst>
            <pc:docMk/>
            <pc:sldMk cId="128622649" sldId="357"/>
            <ac:spMk id="32" creationId="{88C5382A-E071-FC01-5EA8-5FF3BAE4C7E9}"/>
          </ac:spMkLst>
        </pc:spChg>
        <pc:spChg chg="del topLvl">
          <ac:chgData name="Becker Werner OG11" userId="e8270ec5-2b29-421d-a1c9-a2d54bad9b61" providerId="ADAL" clId="{DBA6C715-1CBD-4D8B-99F9-0CBCA0E1D1D2}" dt="2023-05-26T13:10:38.277" v="53" actId="478"/>
          <ac:spMkLst>
            <pc:docMk/>
            <pc:sldMk cId="128622649" sldId="357"/>
            <ac:spMk id="33" creationId="{90EA27E7-E93B-4422-9F06-F5B2AFEA7E41}"/>
          </ac:spMkLst>
        </pc:spChg>
        <pc:spChg chg="del">
          <ac:chgData name="Becker Werner OG11" userId="e8270ec5-2b29-421d-a1c9-a2d54bad9b61" providerId="ADAL" clId="{DBA6C715-1CBD-4D8B-99F9-0CBCA0E1D1D2}" dt="2023-05-26T13:10:28.197" v="47" actId="478"/>
          <ac:spMkLst>
            <pc:docMk/>
            <pc:sldMk cId="128622649" sldId="357"/>
            <ac:spMk id="35" creationId="{4650380F-F45C-4AE0-B75F-8F90BBEE4FEA}"/>
          </ac:spMkLst>
        </pc:spChg>
        <pc:spChg chg="del">
          <ac:chgData name="Becker Werner OG11" userId="e8270ec5-2b29-421d-a1c9-a2d54bad9b61" providerId="ADAL" clId="{DBA6C715-1CBD-4D8B-99F9-0CBCA0E1D1D2}" dt="2023-05-26T13:18:16.475" v="293" actId="478"/>
          <ac:spMkLst>
            <pc:docMk/>
            <pc:sldMk cId="128622649" sldId="357"/>
            <ac:spMk id="36" creationId="{31D717AC-9D95-4137-9D09-51DD12A69CED}"/>
          </ac:spMkLst>
        </pc:spChg>
        <pc:spChg chg="add del mod">
          <ac:chgData name="Becker Werner OG11" userId="e8270ec5-2b29-421d-a1c9-a2d54bad9b61" providerId="ADAL" clId="{DBA6C715-1CBD-4D8B-99F9-0CBCA0E1D1D2}" dt="2023-05-26T13:17:48.018" v="284" actId="478"/>
          <ac:spMkLst>
            <pc:docMk/>
            <pc:sldMk cId="128622649" sldId="357"/>
            <ac:spMk id="37" creationId="{11D8D767-BFDE-5B0F-671F-D7BFEE421B64}"/>
          </ac:spMkLst>
        </pc:spChg>
        <pc:spChg chg="del">
          <ac:chgData name="Becker Werner OG11" userId="e8270ec5-2b29-421d-a1c9-a2d54bad9b61" providerId="ADAL" clId="{DBA6C715-1CBD-4D8B-99F9-0CBCA0E1D1D2}" dt="2023-05-26T13:10:41.597" v="56" actId="478"/>
          <ac:spMkLst>
            <pc:docMk/>
            <pc:sldMk cId="128622649" sldId="357"/>
            <ac:spMk id="39" creationId="{0FB09AD7-66AB-4F2C-9DBE-A56C76BD9750}"/>
          </ac:spMkLst>
        </pc:spChg>
        <pc:spChg chg="del">
          <ac:chgData name="Becker Werner OG11" userId="e8270ec5-2b29-421d-a1c9-a2d54bad9b61" providerId="ADAL" clId="{DBA6C715-1CBD-4D8B-99F9-0CBCA0E1D1D2}" dt="2023-05-26T13:18:20.123" v="296" actId="478"/>
          <ac:spMkLst>
            <pc:docMk/>
            <pc:sldMk cId="128622649" sldId="357"/>
            <ac:spMk id="40" creationId="{9E2A83AD-85E0-4DD6-9E16-C6EF04B76713}"/>
          </ac:spMkLst>
        </pc:spChg>
        <pc:spChg chg="del">
          <ac:chgData name="Becker Werner OG11" userId="e8270ec5-2b29-421d-a1c9-a2d54bad9b61" providerId="ADAL" clId="{DBA6C715-1CBD-4D8B-99F9-0CBCA0E1D1D2}" dt="2023-05-26T13:18:22.671" v="298" actId="478"/>
          <ac:spMkLst>
            <pc:docMk/>
            <pc:sldMk cId="128622649" sldId="357"/>
            <ac:spMk id="41" creationId="{BF670F65-17A3-4912-A9B6-A9DF05D7CB11}"/>
          </ac:spMkLst>
        </pc:spChg>
        <pc:spChg chg="del">
          <ac:chgData name="Becker Werner OG11" userId="e8270ec5-2b29-421d-a1c9-a2d54bad9b61" providerId="ADAL" clId="{DBA6C715-1CBD-4D8B-99F9-0CBCA0E1D1D2}" dt="2023-05-26T13:10:26.452" v="46" actId="478"/>
          <ac:spMkLst>
            <pc:docMk/>
            <pc:sldMk cId="128622649" sldId="357"/>
            <ac:spMk id="42" creationId="{C94C3D97-816D-4E01-9153-6B5D95E743FC}"/>
          </ac:spMkLst>
        </pc:spChg>
        <pc:spChg chg="del">
          <ac:chgData name="Becker Werner OG11" userId="e8270ec5-2b29-421d-a1c9-a2d54bad9b61" providerId="ADAL" clId="{DBA6C715-1CBD-4D8B-99F9-0CBCA0E1D1D2}" dt="2023-05-26T13:18:21.461" v="297" actId="478"/>
          <ac:spMkLst>
            <pc:docMk/>
            <pc:sldMk cId="128622649" sldId="357"/>
            <ac:spMk id="44" creationId="{E0F3DF07-FBBF-42EC-90B6-635F78100B24}"/>
          </ac:spMkLst>
        </pc:spChg>
        <pc:spChg chg="del">
          <ac:chgData name="Becker Werner OG11" userId="e8270ec5-2b29-421d-a1c9-a2d54bad9b61" providerId="ADAL" clId="{DBA6C715-1CBD-4D8B-99F9-0CBCA0E1D1D2}" dt="2023-05-26T13:10:30.300" v="48" actId="478"/>
          <ac:spMkLst>
            <pc:docMk/>
            <pc:sldMk cId="128622649" sldId="357"/>
            <ac:spMk id="45" creationId="{85A151F1-F8E8-47CF-8ED6-5B929E3B0260}"/>
          </ac:spMkLst>
        </pc:spChg>
        <pc:spChg chg="del">
          <ac:chgData name="Becker Werner OG11" userId="e8270ec5-2b29-421d-a1c9-a2d54bad9b61" providerId="ADAL" clId="{DBA6C715-1CBD-4D8B-99F9-0CBCA0E1D1D2}" dt="2023-05-26T13:31:43.332" v="739" actId="478"/>
          <ac:spMkLst>
            <pc:docMk/>
            <pc:sldMk cId="128622649" sldId="357"/>
            <ac:spMk id="46" creationId="{841385B2-973F-4637-ACC1-0BAF7B500840}"/>
          </ac:spMkLst>
        </pc:spChg>
        <pc:spChg chg="del">
          <ac:chgData name="Becker Werner OG11" userId="e8270ec5-2b29-421d-a1c9-a2d54bad9b61" providerId="ADAL" clId="{DBA6C715-1CBD-4D8B-99F9-0CBCA0E1D1D2}" dt="2023-05-26T13:31:44.735" v="740" actId="478"/>
          <ac:spMkLst>
            <pc:docMk/>
            <pc:sldMk cId="128622649" sldId="357"/>
            <ac:spMk id="47" creationId="{81C159A6-ECAC-4D60-8AEE-27B59228F580}"/>
          </ac:spMkLst>
        </pc:spChg>
        <pc:spChg chg="del">
          <ac:chgData name="Becker Werner OG11" userId="e8270ec5-2b29-421d-a1c9-a2d54bad9b61" providerId="ADAL" clId="{DBA6C715-1CBD-4D8B-99F9-0CBCA0E1D1D2}" dt="2023-05-26T13:18:18.691" v="295" actId="478"/>
          <ac:spMkLst>
            <pc:docMk/>
            <pc:sldMk cId="128622649" sldId="357"/>
            <ac:spMk id="48" creationId="{AC051B6E-6155-4409-A20E-AAA98B56ED72}"/>
          </ac:spMkLst>
        </pc:spChg>
        <pc:spChg chg="del">
          <ac:chgData name="Becker Werner OG11" userId="e8270ec5-2b29-421d-a1c9-a2d54bad9b61" providerId="ADAL" clId="{DBA6C715-1CBD-4D8B-99F9-0CBCA0E1D1D2}" dt="2023-05-26T13:10:43.317" v="57" actId="478"/>
          <ac:spMkLst>
            <pc:docMk/>
            <pc:sldMk cId="128622649" sldId="357"/>
            <ac:spMk id="49" creationId="{87807DBF-75BA-47A4-8B84-88D7E76E8C53}"/>
          </ac:spMkLst>
        </pc:spChg>
        <pc:spChg chg="mod">
          <ac:chgData name="Becker Werner OG11" userId="e8270ec5-2b29-421d-a1c9-a2d54bad9b61" providerId="ADAL" clId="{DBA6C715-1CBD-4D8B-99F9-0CBCA0E1D1D2}" dt="2023-05-26T13:17:49.862" v="285"/>
          <ac:spMkLst>
            <pc:docMk/>
            <pc:sldMk cId="128622649" sldId="357"/>
            <ac:spMk id="53" creationId="{94E49D8E-BFC8-1010-A1F4-61E8CB6E84CB}"/>
          </ac:spMkLst>
        </pc:spChg>
        <pc:spChg chg="mod">
          <ac:chgData name="Becker Werner OG11" userId="e8270ec5-2b29-421d-a1c9-a2d54bad9b61" providerId="ADAL" clId="{DBA6C715-1CBD-4D8B-99F9-0CBCA0E1D1D2}" dt="2023-05-26T13:19:26.395" v="334" actId="20577"/>
          <ac:spMkLst>
            <pc:docMk/>
            <pc:sldMk cId="128622649" sldId="357"/>
            <ac:spMk id="54" creationId="{CABFCC63-D82B-A204-6273-ADC570C6BA02}"/>
          </ac:spMkLst>
        </pc:spChg>
        <pc:spChg chg="mod">
          <ac:chgData name="Becker Werner OG11" userId="e8270ec5-2b29-421d-a1c9-a2d54bad9b61" providerId="ADAL" clId="{DBA6C715-1CBD-4D8B-99F9-0CBCA0E1D1D2}" dt="2023-05-26T13:18:11.235" v="291"/>
          <ac:spMkLst>
            <pc:docMk/>
            <pc:sldMk cId="128622649" sldId="357"/>
            <ac:spMk id="57" creationId="{326023C2-7509-2B54-29C8-388D666DDC81}"/>
          </ac:spMkLst>
        </pc:spChg>
        <pc:spChg chg="mod">
          <ac:chgData name="Becker Werner OG11" userId="e8270ec5-2b29-421d-a1c9-a2d54bad9b61" providerId="ADAL" clId="{DBA6C715-1CBD-4D8B-99F9-0CBCA0E1D1D2}" dt="2023-05-26T13:19:37.740" v="343" actId="20577"/>
          <ac:spMkLst>
            <pc:docMk/>
            <pc:sldMk cId="128622649" sldId="357"/>
            <ac:spMk id="58" creationId="{A41A12E0-61BD-2B58-91A0-A96D20F1C331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59" creationId="{145CC84D-576D-251E-0232-72F6DEFB6B41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0" creationId="{A7F53EC0-F655-F9C3-E847-5743AEF9A466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1" creationId="{A618A597-3C74-99C9-B3F3-C2A49F4BE865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2" creationId="{A1BF189F-1139-C677-FF82-36A23D6EE997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3" creationId="{E13C2379-445E-0145-E192-6F381495A640}"/>
          </ac:spMkLst>
        </pc:spChg>
        <pc:spChg chg="add del mod">
          <ac:chgData name="Becker Werner OG11" userId="e8270ec5-2b29-421d-a1c9-a2d54bad9b61" providerId="ADAL" clId="{DBA6C715-1CBD-4D8B-99F9-0CBCA0E1D1D2}" dt="2023-05-26T13:24:51.744" v="520"/>
          <ac:spMkLst>
            <pc:docMk/>
            <pc:sldMk cId="128622649" sldId="357"/>
            <ac:spMk id="64" creationId="{D3FDFE6A-68F8-8A82-C80D-C49571659DBC}"/>
          </ac:spMkLst>
        </pc:spChg>
        <pc:spChg chg="add del mod">
          <ac:chgData name="Becker Werner OG11" userId="e8270ec5-2b29-421d-a1c9-a2d54bad9b61" providerId="ADAL" clId="{DBA6C715-1CBD-4D8B-99F9-0CBCA0E1D1D2}" dt="2023-05-26T13:24:51.745" v="522"/>
          <ac:spMkLst>
            <pc:docMk/>
            <pc:sldMk cId="128622649" sldId="357"/>
            <ac:spMk id="65" creationId="{73BD5A83-8E8E-5991-B62A-EA31D4079AB8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6" creationId="{C26F26B9-BEB6-C775-557A-26F555DB3646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7" creationId="{C91FBE01-CADA-3F55-C99A-9D8A7F959C6A}"/>
          </ac:spMkLst>
        </pc:spChg>
        <pc:spChg chg="add del mod">
          <ac:chgData name="Becker Werner OG11" userId="e8270ec5-2b29-421d-a1c9-a2d54bad9b61" providerId="ADAL" clId="{DBA6C715-1CBD-4D8B-99F9-0CBCA0E1D1D2}" dt="2023-05-26T13:28:01.500" v="620" actId="478"/>
          <ac:spMkLst>
            <pc:docMk/>
            <pc:sldMk cId="128622649" sldId="357"/>
            <ac:spMk id="68" creationId="{B505E4BD-C609-3B21-EE73-431DC2CC7051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69" creationId="{25979B8A-C3AF-CBA0-0BB5-F1CFA19D3407}"/>
          </ac:spMkLst>
        </pc:spChg>
        <pc:spChg chg="add del mod">
          <ac:chgData name="Becker Werner OG11" userId="e8270ec5-2b29-421d-a1c9-a2d54bad9b61" providerId="ADAL" clId="{DBA6C715-1CBD-4D8B-99F9-0CBCA0E1D1D2}" dt="2023-05-26T13:31:31.034" v="736" actId="478"/>
          <ac:spMkLst>
            <pc:docMk/>
            <pc:sldMk cId="128622649" sldId="357"/>
            <ac:spMk id="70" creationId="{187EDA0D-A9A0-35D3-A383-AD78B5E67C21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71" creationId="{6F283AFD-A63A-6BD7-43F9-F04257F21034}"/>
          </ac:spMkLst>
        </pc:spChg>
        <pc:spChg chg="add del mod">
          <ac:chgData name="Becker Werner OG11" userId="e8270ec5-2b29-421d-a1c9-a2d54bad9b61" providerId="ADAL" clId="{DBA6C715-1CBD-4D8B-99F9-0CBCA0E1D1D2}" dt="2023-06-06T09:27:27.474" v="752" actId="478"/>
          <ac:spMkLst>
            <pc:docMk/>
            <pc:sldMk cId="128622649" sldId="357"/>
            <ac:spMk id="74" creationId="{FA9365CD-5399-E08A-3E32-B71446CEAB24}"/>
          </ac:spMkLst>
        </pc:spChg>
        <pc:grpChg chg="add del mod">
          <ac:chgData name="Becker Werner OG11" userId="e8270ec5-2b29-421d-a1c9-a2d54bad9b61" providerId="ADAL" clId="{DBA6C715-1CBD-4D8B-99F9-0CBCA0E1D1D2}" dt="2023-06-06T09:27:27.474" v="752" actId="478"/>
          <ac:grpSpMkLst>
            <pc:docMk/>
            <pc:sldMk cId="128622649" sldId="357"/>
            <ac:grpSpMk id="11" creationId="{AF5F721E-B762-047A-E56C-4117C7DB8E76}"/>
          </ac:grpSpMkLst>
        </pc:grpChg>
        <pc:grpChg chg="del">
          <ac:chgData name="Becker Werner OG11" userId="e8270ec5-2b29-421d-a1c9-a2d54bad9b61" providerId="ADAL" clId="{DBA6C715-1CBD-4D8B-99F9-0CBCA0E1D1D2}" dt="2023-05-26T13:11:43.183" v="99" actId="165"/>
          <ac:grpSpMkLst>
            <pc:docMk/>
            <pc:sldMk cId="128622649" sldId="357"/>
            <ac:grpSpMk id="20" creationId="{D88DB875-3336-4C16-BB75-8A181AE2239E}"/>
          </ac:grpSpMkLst>
        </pc:grpChg>
        <pc:grpChg chg="del">
          <ac:chgData name="Becker Werner OG11" userId="e8270ec5-2b29-421d-a1c9-a2d54bad9b61" providerId="ADAL" clId="{DBA6C715-1CBD-4D8B-99F9-0CBCA0E1D1D2}" dt="2023-05-26T13:10:38.277" v="53" actId="478"/>
          <ac:grpSpMkLst>
            <pc:docMk/>
            <pc:sldMk cId="128622649" sldId="357"/>
            <ac:grpSpMk id="34" creationId="{324D4FE3-81C5-495D-A340-0149B3C36278}"/>
          </ac:grpSpMkLst>
        </pc:grpChg>
        <pc:grpChg chg="add del mod">
          <ac:chgData name="Becker Werner OG11" userId="e8270ec5-2b29-421d-a1c9-a2d54bad9b61" providerId="ADAL" clId="{DBA6C715-1CBD-4D8B-99F9-0CBCA0E1D1D2}" dt="2023-06-06T09:27:27.474" v="752" actId="478"/>
          <ac:grpSpMkLst>
            <pc:docMk/>
            <pc:sldMk cId="128622649" sldId="357"/>
            <ac:grpSpMk id="50" creationId="{43669AF0-94EF-3344-2731-CA2D41E4050D}"/>
          </ac:grpSpMkLst>
        </pc:grpChg>
        <pc:grpChg chg="add del mod">
          <ac:chgData name="Becker Werner OG11" userId="e8270ec5-2b29-421d-a1c9-a2d54bad9b61" providerId="ADAL" clId="{DBA6C715-1CBD-4D8B-99F9-0CBCA0E1D1D2}" dt="2023-06-06T09:27:27.474" v="752" actId="478"/>
          <ac:grpSpMkLst>
            <pc:docMk/>
            <pc:sldMk cId="128622649" sldId="357"/>
            <ac:grpSpMk id="51" creationId="{4849AC8F-4A5F-AB1B-74A3-EC5AB86DE9DE}"/>
          </ac:grpSpMkLst>
        </pc:grpChg>
        <pc:grpChg chg="add del mod">
          <ac:chgData name="Becker Werner OG11" userId="e8270ec5-2b29-421d-a1c9-a2d54bad9b61" providerId="ADAL" clId="{DBA6C715-1CBD-4D8B-99F9-0CBCA0E1D1D2}" dt="2023-06-06T09:27:27.474" v="752" actId="478"/>
          <ac:grpSpMkLst>
            <pc:docMk/>
            <pc:sldMk cId="128622649" sldId="357"/>
            <ac:grpSpMk id="55" creationId="{4B6E4B0D-E358-D1FF-4D48-8F10160F1BE9}"/>
          </ac:grpSpMkLst>
        </pc:grpChg>
        <pc:picChg chg="add mod">
          <ac:chgData name="Becker Werner OG11" userId="e8270ec5-2b29-421d-a1c9-a2d54bad9b61" providerId="ADAL" clId="{DBA6C715-1CBD-4D8B-99F9-0CBCA0E1D1D2}" dt="2023-06-06T09:28:11.306" v="757" actId="14100"/>
          <ac:picMkLst>
            <pc:docMk/>
            <pc:sldMk cId="128622649" sldId="357"/>
            <ac:picMk id="5" creationId="{805FFDEF-00D0-077B-8452-2F0D3931FE39}"/>
          </ac:picMkLst>
        </pc:picChg>
        <pc:picChg chg="mod topLvl">
          <ac:chgData name="Becker Werner OG11" userId="e8270ec5-2b29-421d-a1c9-a2d54bad9b61" providerId="ADAL" clId="{DBA6C715-1CBD-4D8B-99F9-0CBCA0E1D1D2}" dt="2023-05-26T13:17:43.836" v="282" actId="164"/>
          <ac:picMkLst>
            <pc:docMk/>
            <pc:sldMk cId="128622649" sldId="357"/>
            <ac:picMk id="31" creationId="{9C89E8C6-E5ED-4A89-9E46-5F83D0C30E34}"/>
          </ac:picMkLst>
        </pc:picChg>
        <pc:picChg chg="del">
          <ac:chgData name="Becker Werner OG11" userId="e8270ec5-2b29-421d-a1c9-a2d54bad9b61" providerId="ADAL" clId="{DBA6C715-1CBD-4D8B-99F9-0CBCA0E1D1D2}" dt="2023-05-26T13:18:17.899" v="294" actId="478"/>
          <ac:picMkLst>
            <pc:docMk/>
            <pc:sldMk cId="128622649" sldId="357"/>
            <ac:picMk id="38" creationId="{4B1C892E-24CB-4E3C-8632-19491D57D4DB}"/>
          </ac:picMkLst>
        </pc:picChg>
        <pc:picChg chg="del">
          <ac:chgData name="Becker Werner OG11" userId="e8270ec5-2b29-421d-a1c9-a2d54bad9b61" providerId="ADAL" clId="{DBA6C715-1CBD-4D8B-99F9-0CBCA0E1D1D2}" dt="2023-05-26T13:10:31.107" v="49" actId="478"/>
          <ac:picMkLst>
            <pc:docMk/>
            <pc:sldMk cId="128622649" sldId="357"/>
            <ac:picMk id="43" creationId="{2C32D181-1D06-4040-BEA3-2187E082E605}"/>
          </ac:picMkLst>
        </pc:picChg>
        <pc:picChg chg="mod">
          <ac:chgData name="Becker Werner OG11" userId="e8270ec5-2b29-421d-a1c9-a2d54bad9b61" providerId="ADAL" clId="{DBA6C715-1CBD-4D8B-99F9-0CBCA0E1D1D2}" dt="2023-05-26T13:17:49.862" v="285"/>
          <ac:picMkLst>
            <pc:docMk/>
            <pc:sldMk cId="128622649" sldId="357"/>
            <ac:picMk id="52" creationId="{0A41C52E-9291-0D56-C99C-0D7FB9658657}"/>
          </ac:picMkLst>
        </pc:picChg>
        <pc:picChg chg="mod">
          <ac:chgData name="Becker Werner OG11" userId="e8270ec5-2b29-421d-a1c9-a2d54bad9b61" providerId="ADAL" clId="{DBA6C715-1CBD-4D8B-99F9-0CBCA0E1D1D2}" dt="2023-05-26T13:18:11.235" v="291"/>
          <ac:picMkLst>
            <pc:docMk/>
            <pc:sldMk cId="128622649" sldId="357"/>
            <ac:picMk id="56" creationId="{05F7C85D-1858-7BE7-4AD8-F147ACBB19C2}"/>
          </ac:picMkLst>
        </pc:picChg>
        <pc:picChg chg="add del mod">
          <ac:chgData name="Becker Werner OG11" userId="e8270ec5-2b29-421d-a1c9-a2d54bad9b61" providerId="ADAL" clId="{DBA6C715-1CBD-4D8B-99F9-0CBCA0E1D1D2}" dt="2023-06-06T09:27:27.474" v="752" actId="478"/>
          <ac:picMkLst>
            <pc:docMk/>
            <pc:sldMk cId="128622649" sldId="357"/>
            <ac:picMk id="73" creationId="{55E9448D-1341-2A0F-7FBF-CB5B6203A26F}"/>
          </ac:picMkLst>
        </pc:picChg>
        <pc:cxnChg chg="del mod">
          <ac:chgData name="Becker Werner OG11" userId="e8270ec5-2b29-421d-a1c9-a2d54bad9b61" providerId="ADAL" clId="{DBA6C715-1CBD-4D8B-99F9-0CBCA0E1D1D2}" dt="2023-05-26T13:10:34.973" v="52" actId="478"/>
          <ac:cxnSpMkLst>
            <pc:docMk/>
            <pc:sldMk cId="128622649" sldId="357"/>
            <ac:cxnSpMk id="28" creationId="{039FF7BB-96C9-4F93-B414-669B3C7A937B}"/>
          </ac:cxnSpMkLst>
        </pc:cxnChg>
      </pc:sldChg>
      <pc:sldChg chg="del">
        <pc:chgData name="Becker Werner OG11" userId="e8270ec5-2b29-421d-a1c9-a2d54bad9b61" providerId="ADAL" clId="{DBA6C715-1CBD-4D8B-99F9-0CBCA0E1D1D2}" dt="2023-06-06T14:01:52.470" v="1076" actId="47"/>
        <pc:sldMkLst>
          <pc:docMk/>
          <pc:sldMk cId="3740112192" sldId="366"/>
        </pc:sldMkLst>
      </pc:sldChg>
      <pc:sldChg chg="addSp delSp modSp add mod">
        <pc:chgData name="Becker Werner OG11" userId="e8270ec5-2b29-421d-a1c9-a2d54bad9b61" providerId="ADAL" clId="{DBA6C715-1CBD-4D8B-99F9-0CBCA0E1D1D2}" dt="2023-06-13T08:23:27.544" v="1265" actId="165"/>
        <pc:sldMkLst>
          <pc:docMk/>
          <pc:sldMk cId="2278209257" sldId="372"/>
        </pc:sldMkLst>
        <pc:spChg chg="del">
          <ac:chgData name="Becker Werner OG11" userId="e8270ec5-2b29-421d-a1c9-a2d54bad9b61" providerId="ADAL" clId="{DBA6C715-1CBD-4D8B-99F9-0CBCA0E1D1D2}" dt="2023-06-13T08:06:55.221" v="1087" actId="478"/>
          <ac:spMkLst>
            <pc:docMk/>
            <pc:sldMk cId="2278209257" sldId="372"/>
            <ac:spMk id="2" creationId="{46AA07C9-2345-4C1B-92E4-C348F1EDFD13}"/>
          </ac:spMkLst>
        </pc:spChg>
        <pc:spChg chg="add mod">
          <ac:chgData name="Becker Werner OG11" userId="e8270ec5-2b29-421d-a1c9-a2d54bad9b61" providerId="ADAL" clId="{DBA6C715-1CBD-4D8B-99F9-0CBCA0E1D1D2}" dt="2023-06-13T08:06:56.054" v="1088"/>
          <ac:spMkLst>
            <pc:docMk/>
            <pc:sldMk cId="2278209257" sldId="372"/>
            <ac:spMk id="4" creationId="{06DB0F11-4E66-BF18-F296-37A62CF55527}"/>
          </ac:spMkLst>
        </pc:spChg>
        <pc:spChg chg="mod">
          <ac:chgData name="Becker Werner OG11" userId="e8270ec5-2b29-421d-a1c9-a2d54bad9b61" providerId="ADAL" clId="{DBA6C715-1CBD-4D8B-99F9-0CBCA0E1D1D2}" dt="2023-06-13T08:04:38.804" v="1077" actId="20577"/>
          <ac:spMkLst>
            <pc:docMk/>
            <pc:sldMk cId="2278209257" sldId="372"/>
            <ac:spMk id="24" creationId="{73BBA9B6-7FDA-48C9-8ADE-9CDBE189E543}"/>
          </ac:spMkLst>
        </pc:spChg>
        <pc:spChg chg="mod topLvl">
          <ac:chgData name="Becker Werner OG11" userId="e8270ec5-2b29-421d-a1c9-a2d54bad9b61" providerId="ADAL" clId="{DBA6C715-1CBD-4D8B-99F9-0CBCA0E1D1D2}" dt="2023-06-13T08:23:27.544" v="1265" actId="165"/>
          <ac:spMkLst>
            <pc:docMk/>
            <pc:sldMk cId="2278209257" sldId="372"/>
            <ac:spMk id="27" creationId="{99433252-0277-989A-744F-3AE8C11C875B}"/>
          </ac:spMkLst>
        </pc:spChg>
        <pc:spChg chg="mod topLvl">
          <ac:chgData name="Becker Werner OG11" userId="e8270ec5-2b29-421d-a1c9-a2d54bad9b61" providerId="ADAL" clId="{DBA6C715-1CBD-4D8B-99F9-0CBCA0E1D1D2}" dt="2023-06-13T08:23:27.544" v="1265" actId="165"/>
          <ac:spMkLst>
            <pc:docMk/>
            <pc:sldMk cId="2278209257" sldId="372"/>
            <ac:spMk id="30" creationId="{F09CFAB7-CA13-4107-27B2-7CDF4F5E2158}"/>
          </ac:spMkLst>
        </pc:spChg>
        <pc:grpChg chg="del">
          <ac:chgData name="Becker Werner OG11" userId="e8270ec5-2b29-421d-a1c9-a2d54bad9b61" providerId="ADAL" clId="{DBA6C715-1CBD-4D8B-99F9-0CBCA0E1D1D2}" dt="2023-06-13T08:23:27.544" v="1265" actId="165"/>
          <ac:grpSpMkLst>
            <pc:docMk/>
            <pc:sldMk cId="2278209257" sldId="372"/>
            <ac:grpSpMk id="50" creationId="{43669AF0-94EF-3344-2731-CA2D41E4050D}"/>
          </ac:grpSpMkLst>
        </pc:grpChg>
        <pc:picChg chg="mod topLvl">
          <ac:chgData name="Becker Werner OG11" userId="e8270ec5-2b29-421d-a1c9-a2d54bad9b61" providerId="ADAL" clId="{DBA6C715-1CBD-4D8B-99F9-0CBCA0E1D1D2}" dt="2023-06-13T08:23:27.544" v="1265" actId="165"/>
          <ac:picMkLst>
            <pc:docMk/>
            <pc:sldMk cId="2278209257" sldId="372"/>
            <ac:picMk id="31" creationId="{9C89E8C6-E5ED-4A89-9E46-5F83D0C30E34}"/>
          </ac:picMkLst>
        </pc:picChg>
      </pc:sldChg>
      <pc:sldChg chg="addSp delSp modSp add mod ord">
        <pc:chgData name="Becker Werner OG11" userId="e8270ec5-2b29-421d-a1c9-a2d54bad9b61" providerId="ADAL" clId="{DBA6C715-1CBD-4D8B-99F9-0CBCA0E1D1D2}" dt="2023-06-13T08:24:57.002" v="1306" actId="1076"/>
        <pc:sldMkLst>
          <pc:docMk/>
          <pc:sldMk cId="601653851" sldId="373"/>
        </pc:sldMkLst>
        <pc:spChg chg="del">
          <ac:chgData name="Becker Werner OG11" userId="e8270ec5-2b29-421d-a1c9-a2d54bad9b61" providerId="ADAL" clId="{DBA6C715-1CBD-4D8B-99F9-0CBCA0E1D1D2}" dt="2023-06-13T08:06:59.560" v="1089" actId="478"/>
          <ac:spMkLst>
            <pc:docMk/>
            <pc:sldMk cId="601653851" sldId="373"/>
            <ac:spMk id="2" creationId="{46AA07C9-2345-4C1B-92E4-C348F1EDFD13}"/>
          </ac:spMkLst>
        </pc:spChg>
        <pc:spChg chg="add mod">
          <ac:chgData name="Becker Werner OG11" userId="e8270ec5-2b29-421d-a1c9-a2d54bad9b61" providerId="ADAL" clId="{DBA6C715-1CBD-4D8B-99F9-0CBCA0E1D1D2}" dt="2023-06-13T08:07:00.243" v="1090"/>
          <ac:spMkLst>
            <pc:docMk/>
            <pc:sldMk cId="601653851" sldId="373"/>
            <ac:spMk id="4" creationId="{4C33C6CB-9166-6B8C-7E72-C55F11283A68}"/>
          </ac:spMkLst>
        </pc:spChg>
        <pc:spChg chg="add mod">
          <ac:chgData name="Becker Werner OG11" userId="e8270ec5-2b29-421d-a1c9-a2d54bad9b61" providerId="ADAL" clId="{DBA6C715-1CBD-4D8B-99F9-0CBCA0E1D1D2}" dt="2023-06-13T08:24:49.309" v="1304" actId="6549"/>
          <ac:spMkLst>
            <pc:docMk/>
            <pc:sldMk cId="601653851" sldId="373"/>
            <ac:spMk id="6" creationId="{3E1736CB-58F9-CF5C-B26A-F415F0C6173A}"/>
          </ac:spMkLst>
        </pc:spChg>
        <pc:spChg chg="add mod">
          <ac:chgData name="Becker Werner OG11" userId="e8270ec5-2b29-421d-a1c9-a2d54bad9b61" providerId="ADAL" clId="{DBA6C715-1CBD-4D8B-99F9-0CBCA0E1D1D2}" dt="2023-06-13T08:09:46.619" v="1160" actId="1076"/>
          <ac:spMkLst>
            <pc:docMk/>
            <pc:sldMk cId="601653851" sldId="373"/>
            <ac:spMk id="9" creationId="{F5499C72-2F66-C82D-9C05-1CAD04C990B6}"/>
          </ac:spMkLst>
        </pc:spChg>
        <pc:spChg chg="mod">
          <ac:chgData name="Becker Werner OG11" userId="e8270ec5-2b29-421d-a1c9-a2d54bad9b61" providerId="ADAL" clId="{DBA6C715-1CBD-4D8B-99F9-0CBCA0E1D1D2}" dt="2023-06-13T08:06:28.737" v="1078" actId="20577"/>
          <ac:spMkLst>
            <pc:docMk/>
            <pc:sldMk cId="601653851" sldId="373"/>
            <ac:spMk id="10" creationId="{5D2ACAD7-49C4-F652-EFF1-0740A6A36F5A}"/>
          </ac:spMkLst>
        </pc:spChg>
        <pc:spChg chg="add mod">
          <ac:chgData name="Becker Werner OG11" userId="e8270ec5-2b29-421d-a1c9-a2d54bad9b61" providerId="ADAL" clId="{DBA6C715-1CBD-4D8B-99F9-0CBCA0E1D1D2}" dt="2023-06-13T08:10:41.571" v="1185" actId="1076"/>
          <ac:spMkLst>
            <pc:docMk/>
            <pc:sldMk cId="601653851" sldId="373"/>
            <ac:spMk id="11" creationId="{509B9766-658C-EBD3-9CC7-67FD58CACC8E}"/>
          </ac:spMkLst>
        </pc:spChg>
        <pc:spChg chg="add mod">
          <ac:chgData name="Becker Werner OG11" userId="e8270ec5-2b29-421d-a1c9-a2d54bad9b61" providerId="ADAL" clId="{DBA6C715-1CBD-4D8B-99F9-0CBCA0E1D1D2}" dt="2023-06-13T08:08:58.851" v="1134" actId="14100"/>
          <ac:spMkLst>
            <pc:docMk/>
            <pc:sldMk cId="601653851" sldId="373"/>
            <ac:spMk id="12" creationId="{392B915C-1B30-1F96-F3A4-A84A77970994}"/>
          </ac:spMkLst>
        </pc:spChg>
        <pc:spChg chg="add mod">
          <ac:chgData name="Becker Werner OG11" userId="e8270ec5-2b29-421d-a1c9-a2d54bad9b61" providerId="ADAL" clId="{DBA6C715-1CBD-4D8B-99F9-0CBCA0E1D1D2}" dt="2023-06-13T08:24:57.002" v="1306" actId="1076"/>
          <ac:spMkLst>
            <pc:docMk/>
            <pc:sldMk cId="601653851" sldId="373"/>
            <ac:spMk id="13" creationId="{FCC3629A-A6B5-5869-E088-65ED35C77B56}"/>
          </ac:spMkLst>
        </pc:spChg>
        <pc:spChg chg="add mod">
          <ac:chgData name="Becker Werner OG11" userId="e8270ec5-2b29-421d-a1c9-a2d54bad9b61" providerId="ADAL" clId="{DBA6C715-1CBD-4D8B-99F9-0CBCA0E1D1D2}" dt="2023-06-13T08:08:45.955" v="1127" actId="20577"/>
          <ac:spMkLst>
            <pc:docMk/>
            <pc:sldMk cId="601653851" sldId="373"/>
            <ac:spMk id="14" creationId="{A465F954-61F1-2D72-A9DB-83A8BA4758CD}"/>
          </ac:spMkLst>
        </pc:spChg>
        <pc:picChg chg="del">
          <ac:chgData name="Becker Werner OG11" userId="e8270ec5-2b29-421d-a1c9-a2d54bad9b61" providerId="ADAL" clId="{DBA6C715-1CBD-4D8B-99F9-0CBCA0E1D1D2}" dt="2023-06-06T09:29:55.931" v="761" actId="478"/>
          <ac:picMkLst>
            <pc:docMk/>
            <pc:sldMk cId="601653851" sldId="373"/>
            <ac:picMk id="5" creationId="{805FFDEF-00D0-077B-8452-2F0D3931FE39}"/>
          </ac:picMkLst>
        </pc:picChg>
        <pc:picChg chg="add mod">
          <ac:chgData name="Becker Werner OG11" userId="e8270ec5-2b29-421d-a1c9-a2d54bad9b61" providerId="ADAL" clId="{DBA6C715-1CBD-4D8B-99F9-0CBCA0E1D1D2}" dt="2023-06-13T08:23:39.804" v="1267" actId="1076"/>
          <ac:picMkLst>
            <pc:docMk/>
            <pc:sldMk cId="601653851" sldId="373"/>
            <ac:picMk id="5" creationId="{E3188B38-B314-F03D-712C-59A3DC670072}"/>
          </ac:picMkLst>
        </pc:picChg>
        <pc:picChg chg="add del mod">
          <ac:chgData name="Becker Werner OG11" userId="e8270ec5-2b29-421d-a1c9-a2d54bad9b61" providerId="ADAL" clId="{DBA6C715-1CBD-4D8B-99F9-0CBCA0E1D1D2}" dt="2023-06-06T11:58:40.741" v="920" actId="478"/>
          <ac:picMkLst>
            <pc:docMk/>
            <pc:sldMk cId="601653851" sldId="373"/>
            <ac:picMk id="6" creationId="{0513F9D5-88DD-599E-7025-E8448D3FDD57}"/>
          </ac:picMkLst>
        </pc:picChg>
        <pc:picChg chg="add mod">
          <ac:chgData name="Becker Werner OG11" userId="e8270ec5-2b29-421d-a1c9-a2d54bad9b61" providerId="ADAL" clId="{DBA6C715-1CBD-4D8B-99F9-0CBCA0E1D1D2}" dt="2023-06-06T11:59:18.275" v="924" actId="1076"/>
          <ac:picMkLst>
            <pc:docMk/>
            <pc:sldMk cId="601653851" sldId="373"/>
            <ac:picMk id="8" creationId="{82F1F1F1-1325-3542-A34A-CDE1D79660CB}"/>
          </ac:picMkLst>
        </pc:picChg>
      </pc:sldChg>
      <pc:sldChg chg="addSp delSp modSp add mod">
        <pc:chgData name="Becker Werner OG11" userId="e8270ec5-2b29-421d-a1c9-a2d54bad9b61" providerId="ADAL" clId="{DBA6C715-1CBD-4D8B-99F9-0CBCA0E1D1D2}" dt="2023-06-13T08:07:05.243" v="1092"/>
        <pc:sldMkLst>
          <pc:docMk/>
          <pc:sldMk cId="514142463" sldId="374"/>
        </pc:sldMkLst>
        <pc:spChg chg="del">
          <ac:chgData name="Becker Werner OG11" userId="e8270ec5-2b29-421d-a1c9-a2d54bad9b61" providerId="ADAL" clId="{DBA6C715-1CBD-4D8B-99F9-0CBCA0E1D1D2}" dt="2023-06-13T08:07:04.502" v="1091" actId="478"/>
          <ac:spMkLst>
            <pc:docMk/>
            <pc:sldMk cId="514142463" sldId="374"/>
            <ac:spMk id="2" creationId="{46AA07C9-2345-4C1B-92E4-C348F1EDFD13}"/>
          </ac:spMkLst>
        </pc:spChg>
        <pc:spChg chg="add mod">
          <ac:chgData name="Becker Werner OG11" userId="e8270ec5-2b29-421d-a1c9-a2d54bad9b61" providerId="ADAL" clId="{DBA6C715-1CBD-4D8B-99F9-0CBCA0E1D1D2}" dt="2023-06-13T08:07:05.243" v="1092"/>
          <ac:spMkLst>
            <pc:docMk/>
            <pc:sldMk cId="514142463" sldId="374"/>
            <ac:spMk id="4" creationId="{8720EE85-9A42-C765-7A75-1BC3A8D22390}"/>
          </ac:spMkLst>
        </pc:spChg>
        <pc:spChg chg="mod">
          <ac:chgData name="Becker Werner OG11" userId="e8270ec5-2b29-421d-a1c9-a2d54bad9b61" providerId="ADAL" clId="{DBA6C715-1CBD-4D8B-99F9-0CBCA0E1D1D2}" dt="2023-06-06T10:57:40.588" v="908" actId="6549"/>
          <ac:spMkLst>
            <pc:docMk/>
            <pc:sldMk cId="514142463" sldId="374"/>
            <ac:spMk id="10" creationId="{5D2ACAD7-49C4-F652-EFF1-0740A6A36F5A}"/>
          </ac:spMkLst>
        </pc:spChg>
        <pc:spChg chg="add mod">
          <ac:chgData name="Becker Werner OG11" userId="e8270ec5-2b29-421d-a1c9-a2d54bad9b61" providerId="ADAL" clId="{DBA6C715-1CBD-4D8B-99F9-0CBCA0E1D1D2}" dt="2023-06-06T13:59:27.099" v="1027" actId="1076"/>
          <ac:spMkLst>
            <pc:docMk/>
            <pc:sldMk cId="514142463" sldId="374"/>
            <ac:spMk id="12" creationId="{34920D07-50F5-84C6-6A44-5640508B46C8}"/>
          </ac:spMkLst>
        </pc:spChg>
        <pc:spChg chg="add mod">
          <ac:chgData name="Becker Werner OG11" userId="e8270ec5-2b29-421d-a1c9-a2d54bad9b61" providerId="ADAL" clId="{DBA6C715-1CBD-4D8B-99F9-0CBCA0E1D1D2}" dt="2023-06-06T13:59:41.443" v="1047" actId="20577"/>
          <ac:spMkLst>
            <pc:docMk/>
            <pc:sldMk cId="514142463" sldId="374"/>
            <ac:spMk id="13" creationId="{EC9D3E2C-F3EA-0560-A3CD-5134CACAD488}"/>
          </ac:spMkLst>
        </pc:spChg>
        <pc:spChg chg="add mod">
          <ac:chgData name="Becker Werner OG11" userId="e8270ec5-2b29-421d-a1c9-a2d54bad9b61" providerId="ADAL" clId="{DBA6C715-1CBD-4D8B-99F9-0CBCA0E1D1D2}" dt="2023-06-06T14:00:01.984" v="1050" actId="1076"/>
          <ac:spMkLst>
            <pc:docMk/>
            <pc:sldMk cId="514142463" sldId="374"/>
            <ac:spMk id="14" creationId="{B2FC73BC-8D1E-2949-1256-0DABB024D2D0}"/>
          </ac:spMkLst>
        </pc:spChg>
        <pc:spChg chg="add mod">
          <ac:chgData name="Becker Werner OG11" userId="e8270ec5-2b29-421d-a1c9-a2d54bad9b61" providerId="ADAL" clId="{DBA6C715-1CBD-4D8B-99F9-0CBCA0E1D1D2}" dt="2023-06-06T14:00:28.928" v="1072" actId="1076"/>
          <ac:spMkLst>
            <pc:docMk/>
            <pc:sldMk cId="514142463" sldId="374"/>
            <ac:spMk id="15" creationId="{5D586E4F-2F0E-C735-7FD9-F070ACFF80EC}"/>
          </ac:spMkLst>
        </pc:spChg>
        <pc:picChg chg="add mod">
          <ac:chgData name="Becker Werner OG11" userId="e8270ec5-2b29-421d-a1c9-a2d54bad9b61" providerId="ADAL" clId="{DBA6C715-1CBD-4D8B-99F9-0CBCA0E1D1D2}" dt="2023-06-06T10:58:36.396" v="912" actId="1076"/>
          <ac:picMkLst>
            <pc:docMk/>
            <pc:sldMk cId="514142463" sldId="374"/>
            <ac:picMk id="5" creationId="{B3C62193-BD74-C44A-89E9-2D1177123605}"/>
          </ac:picMkLst>
        </pc:picChg>
        <pc:picChg chg="del">
          <ac:chgData name="Becker Werner OG11" userId="e8270ec5-2b29-421d-a1c9-a2d54bad9b61" providerId="ADAL" clId="{DBA6C715-1CBD-4D8B-99F9-0CBCA0E1D1D2}" dt="2023-06-06T10:57:43" v="909" actId="478"/>
          <ac:picMkLst>
            <pc:docMk/>
            <pc:sldMk cId="514142463" sldId="374"/>
            <ac:picMk id="6" creationId="{0513F9D5-88DD-599E-7025-E8448D3FDD57}"/>
          </ac:picMkLst>
        </pc:picChg>
        <pc:picChg chg="add mod">
          <ac:chgData name="Becker Werner OG11" userId="e8270ec5-2b29-421d-a1c9-a2d54bad9b61" providerId="ADAL" clId="{DBA6C715-1CBD-4D8B-99F9-0CBCA0E1D1D2}" dt="2023-06-06T11:27:21.297" v="915" actId="1076"/>
          <ac:picMkLst>
            <pc:docMk/>
            <pc:sldMk cId="514142463" sldId="374"/>
            <ac:picMk id="8" creationId="{FC517C73-974F-DBFC-F851-38E8621FEF84}"/>
          </ac:picMkLst>
        </pc:picChg>
        <pc:picChg chg="add mod">
          <ac:chgData name="Becker Werner OG11" userId="e8270ec5-2b29-421d-a1c9-a2d54bad9b61" providerId="ADAL" clId="{DBA6C715-1CBD-4D8B-99F9-0CBCA0E1D1D2}" dt="2023-06-06T14:00:34.597" v="1075" actId="1076"/>
          <ac:picMkLst>
            <pc:docMk/>
            <pc:sldMk cId="514142463" sldId="374"/>
            <ac:picMk id="11" creationId="{8F9A7C2F-38CD-8BA2-531D-04A7B4D82A49}"/>
          </ac:picMkLst>
        </pc:picChg>
      </pc:sldChg>
      <pc:sldChg chg="addSp delSp modSp add mod">
        <pc:chgData name="Becker Werner OG11" userId="e8270ec5-2b29-421d-a1c9-a2d54bad9b61" providerId="ADAL" clId="{DBA6C715-1CBD-4D8B-99F9-0CBCA0E1D1D2}" dt="2023-06-13T08:07:42.060" v="1120" actId="1076"/>
        <pc:sldMkLst>
          <pc:docMk/>
          <pc:sldMk cId="292640055" sldId="375"/>
        </pc:sldMkLst>
        <pc:spChg chg="del">
          <ac:chgData name="Becker Werner OG11" userId="e8270ec5-2b29-421d-a1c9-a2d54bad9b61" providerId="ADAL" clId="{DBA6C715-1CBD-4D8B-99F9-0CBCA0E1D1D2}" dt="2023-06-13T08:07:24.947" v="1100" actId="478"/>
          <ac:spMkLst>
            <pc:docMk/>
            <pc:sldMk cId="292640055" sldId="375"/>
            <ac:spMk id="4" creationId="{8720EE85-9A42-C765-7A75-1BC3A8D22390}"/>
          </ac:spMkLst>
        </pc:spChg>
        <pc:spChg chg="add del mod">
          <ac:chgData name="Becker Werner OG11" userId="e8270ec5-2b29-421d-a1c9-a2d54bad9b61" providerId="ADAL" clId="{DBA6C715-1CBD-4D8B-99F9-0CBCA0E1D1D2}" dt="2023-06-13T08:07:21.542" v="1099" actId="478"/>
          <ac:spMkLst>
            <pc:docMk/>
            <pc:sldMk cId="292640055" sldId="375"/>
            <ac:spMk id="6" creationId="{720A4A0D-234C-2271-3EC1-EC6BB3843F08}"/>
          </ac:spMkLst>
        </pc:spChg>
        <pc:spChg chg="add mod">
          <ac:chgData name="Becker Werner OG11" userId="e8270ec5-2b29-421d-a1c9-a2d54bad9b61" providerId="ADAL" clId="{DBA6C715-1CBD-4D8B-99F9-0CBCA0E1D1D2}" dt="2023-06-13T08:07:42.060" v="1120" actId="1076"/>
          <ac:spMkLst>
            <pc:docMk/>
            <pc:sldMk cId="292640055" sldId="375"/>
            <ac:spMk id="7" creationId="{E15F0761-2C19-19E4-14FB-FCEAEB92CF94}"/>
          </ac:spMkLst>
        </pc:spChg>
        <pc:spChg chg="del">
          <ac:chgData name="Becker Werner OG11" userId="e8270ec5-2b29-421d-a1c9-a2d54bad9b61" providerId="ADAL" clId="{DBA6C715-1CBD-4D8B-99F9-0CBCA0E1D1D2}" dt="2023-06-13T08:07:19.743" v="1098" actId="478"/>
          <ac:spMkLst>
            <pc:docMk/>
            <pc:sldMk cId="292640055" sldId="375"/>
            <ac:spMk id="10" creationId="{5D2ACAD7-49C4-F652-EFF1-0740A6A36F5A}"/>
          </ac:spMkLst>
        </pc:spChg>
        <pc:spChg chg="del">
          <ac:chgData name="Becker Werner OG11" userId="e8270ec5-2b29-421d-a1c9-a2d54bad9b61" providerId="ADAL" clId="{DBA6C715-1CBD-4D8B-99F9-0CBCA0E1D1D2}" dt="2023-06-13T08:07:26.470" v="1101" actId="478"/>
          <ac:spMkLst>
            <pc:docMk/>
            <pc:sldMk cId="292640055" sldId="375"/>
            <ac:spMk id="12" creationId="{34920D07-50F5-84C6-6A44-5640508B46C8}"/>
          </ac:spMkLst>
        </pc:spChg>
        <pc:spChg chg="del">
          <ac:chgData name="Becker Werner OG11" userId="e8270ec5-2b29-421d-a1c9-a2d54bad9b61" providerId="ADAL" clId="{DBA6C715-1CBD-4D8B-99F9-0CBCA0E1D1D2}" dt="2023-06-13T08:07:27.938" v="1102" actId="478"/>
          <ac:spMkLst>
            <pc:docMk/>
            <pc:sldMk cId="292640055" sldId="375"/>
            <ac:spMk id="13" creationId="{EC9D3E2C-F3EA-0560-A3CD-5134CACAD488}"/>
          </ac:spMkLst>
        </pc:spChg>
        <pc:spChg chg="del">
          <ac:chgData name="Becker Werner OG11" userId="e8270ec5-2b29-421d-a1c9-a2d54bad9b61" providerId="ADAL" clId="{DBA6C715-1CBD-4D8B-99F9-0CBCA0E1D1D2}" dt="2023-06-13T08:07:17.083" v="1097" actId="478"/>
          <ac:spMkLst>
            <pc:docMk/>
            <pc:sldMk cId="292640055" sldId="375"/>
            <ac:spMk id="14" creationId="{B2FC73BC-8D1E-2949-1256-0DABB024D2D0}"/>
          </ac:spMkLst>
        </pc:spChg>
        <pc:spChg chg="del">
          <ac:chgData name="Becker Werner OG11" userId="e8270ec5-2b29-421d-a1c9-a2d54bad9b61" providerId="ADAL" clId="{DBA6C715-1CBD-4D8B-99F9-0CBCA0E1D1D2}" dt="2023-06-13T08:07:29.216" v="1103" actId="478"/>
          <ac:spMkLst>
            <pc:docMk/>
            <pc:sldMk cId="292640055" sldId="375"/>
            <ac:spMk id="15" creationId="{5D586E4F-2F0E-C735-7FD9-F070ACFF80EC}"/>
          </ac:spMkLst>
        </pc:spChg>
        <pc:picChg chg="del">
          <ac:chgData name="Becker Werner OG11" userId="e8270ec5-2b29-421d-a1c9-a2d54bad9b61" providerId="ADAL" clId="{DBA6C715-1CBD-4D8B-99F9-0CBCA0E1D1D2}" dt="2023-06-13T08:07:14.788" v="1094" actId="478"/>
          <ac:picMkLst>
            <pc:docMk/>
            <pc:sldMk cId="292640055" sldId="375"/>
            <ac:picMk id="5" creationId="{B3C62193-BD74-C44A-89E9-2D1177123605}"/>
          </ac:picMkLst>
        </pc:picChg>
        <pc:picChg chg="del">
          <ac:chgData name="Becker Werner OG11" userId="e8270ec5-2b29-421d-a1c9-a2d54bad9b61" providerId="ADAL" clId="{DBA6C715-1CBD-4D8B-99F9-0CBCA0E1D1D2}" dt="2023-06-13T08:07:15.511" v="1095" actId="478"/>
          <ac:picMkLst>
            <pc:docMk/>
            <pc:sldMk cId="292640055" sldId="375"/>
            <ac:picMk id="8" creationId="{FC517C73-974F-DBFC-F851-38E8621FEF84}"/>
          </ac:picMkLst>
        </pc:picChg>
        <pc:picChg chg="del">
          <ac:chgData name="Becker Werner OG11" userId="e8270ec5-2b29-421d-a1c9-a2d54bad9b61" providerId="ADAL" clId="{DBA6C715-1CBD-4D8B-99F9-0CBCA0E1D1D2}" dt="2023-06-13T08:07:16.325" v="1096" actId="478"/>
          <ac:picMkLst>
            <pc:docMk/>
            <pc:sldMk cId="292640055" sldId="375"/>
            <ac:picMk id="11" creationId="{8F9A7C2F-38CD-8BA2-531D-04A7B4D82A49}"/>
          </ac:picMkLst>
        </pc:picChg>
      </pc:sldChg>
      <pc:sldChg chg="delSp modSp add del mod">
        <pc:chgData name="Becker Werner OG11" userId="e8270ec5-2b29-421d-a1c9-a2d54bad9b61" providerId="ADAL" clId="{DBA6C715-1CBD-4D8B-99F9-0CBCA0E1D1D2}" dt="2023-06-13T08:24:21.202" v="1278" actId="47"/>
        <pc:sldMkLst>
          <pc:docMk/>
          <pc:sldMk cId="2233031433" sldId="376"/>
        </pc:sldMkLst>
        <pc:spChg chg="mod">
          <ac:chgData name="Becker Werner OG11" userId="e8270ec5-2b29-421d-a1c9-a2d54bad9b61" providerId="ADAL" clId="{DBA6C715-1CBD-4D8B-99F9-0CBCA0E1D1D2}" dt="2023-06-13T08:19:46.004" v="1206" actId="20577"/>
          <ac:spMkLst>
            <pc:docMk/>
            <pc:sldMk cId="2233031433" sldId="376"/>
            <ac:spMk id="10" creationId="{5D2ACAD7-49C4-F652-EFF1-0740A6A36F5A}"/>
          </ac:spMkLst>
        </pc:spChg>
        <pc:spChg chg="mod">
          <ac:chgData name="Becker Werner OG11" userId="e8270ec5-2b29-421d-a1c9-a2d54bad9b61" providerId="ADAL" clId="{DBA6C715-1CBD-4D8B-99F9-0CBCA0E1D1D2}" dt="2023-06-13T08:22:45.922" v="1264" actId="6549"/>
          <ac:spMkLst>
            <pc:docMk/>
            <pc:sldMk cId="2233031433" sldId="376"/>
            <ac:spMk id="12" creationId="{34920D07-50F5-84C6-6A44-5640508B46C8}"/>
          </ac:spMkLst>
        </pc:spChg>
        <pc:spChg chg="del">
          <ac:chgData name="Becker Werner OG11" userId="e8270ec5-2b29-421d-a1c9-a2d54bad9b61" providerId="ADAL" clId="{DBA6C715-1CBD-4D8B-99F9-0CBCA0E1D1D2}" dt="2023-06-13T08:19:56.868" v="1212" actId="478"/>
          <ac:spMkLst>
            <pc:docMk/>
            <pc:sldMk cId="2233031433" sldId="376"/>
            <ac:spMk id="13" creationId="{EC9D3E2C-F3EA-0560-A3CD-5134CACAD488}"/>
          </ac:spMkLst>
        </pc:spChg>
        <pc:spChg chg="del">
          <ac:chgData name="Becker Werner OG11" userId="e8270ec5-2b29-421d-a1c9-a2d54bad9b61" providerId="ADAL" clId="{DBA6C715-1CBD-4D8B-99F9-0CBCA0E1D1D2}" dt="2023-06-13T08:19:52.412" v="1210" actId="478"/>
          <ac:spMkLst>
            <pc:docMk/>
            <pc:sldMk cId="2233031433" sldId="376"/>
            <ac:spMk id="14" creationId="{B2FC73BC-8D1E-2949-1256-0DABB024D2D0}"/>
          </ac:spMkLst>
        </pc:spChg>
        <pc:spChg chg="del">
          <ac:chgData name="Becker Werner OG11" userId="e8270ec5-2b29-421d-a1c9-a2d54bad9b61" providerId="ADAL" clId="{DBA6C715-1CBD-4D8B-99F9-0CBCA0E1D1D2}" dt="2023-06-13T08:19:53.658" v="1211" actId="478"/>
          <ac:spMkLst>
            <pc:docMk/>
            <pc:sldMk cId="2233031433" sldId="376"/>
            <ac:spMk id="15" creationId="{5D586E4F-2F0E-C735-7FD9-F070ACFF80EC}"/>
          </ac:spMkLst>
        </pc:spChg>
        <pc:picChg chg="del">
          <ac:chgData name="Becker Werner OG11" userId="e8270ec5-2b29-421d-a1c9-a2d54bad9b61" providerId="ADAL" clId="{DBA6C715-1CBD-4D8B-99F9-0CBCA0E1D1D2}" dt="2023-06-13T08:19:50.172" v="1207" actId="478"/>
          <ac:picMkLst>
            <pc:docMk/>
            <pc:sldMk cId="2233031433" sldId="376"/>
            <ac:picMk id="5" creationId="{B3C62193-BD74-C44A-89E9-2D1177123605}"/>
          </ac:picMkLst>
        </pc:picChg>
        <pc:picChg chg="del">
          <ac:chgData name="Becker Werner OG11" userId="e8270ec5-2b29-421d-a1c9-a2d54bad9b61" providerId="ADAL" clId="{DBA6C715-1CBD-4D8B-99F9-0CBCA0E1D1D2}" dt="2023-06-13T08:19:50.876" v="1208" actId="478"/>
          <ac:picMkLst>
            <pc:docMk/>
            <pc:sldMk cId="2233031433" sldId="376"/>
            <ac:picMk id="8" creationId="{FC517C73-974F-DBFC-F851-38E8621FEF84}"/>
          </ac:picMkLst>
        </pc:picChg>
        <pc:picChg chg="del">
          <ac:chgData name="Becker Werner OG11" userId="e8270ec5-2b29-421d-a1c9-a2d54bad9b61" providerId="ADAL" clId="{DBA6C715-1CBD-4D8B-99F9-0CBCA0E1D1D2}" dt="2023-06-13T08:19:51.711" v="1209" actId="478"/>
          <ac:picMkLst>
            <pc:docMk/>
            <pc:sldMk cId="2233031433" sldId="376"/>
            <ac:picMk id="11" creationId="{8F9A7C2F-38CD-8BA2-531D-04A7B4D82A4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229A187D-4281-4411-8A33-54D08BC771E0}" type="datetimeFigureOut">
              <a:rPr lang="de-DE" smtClean="0"/>
              <a:pPr/>
              <a:t>13.06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325F85E6-0502-4828-91F3-14FC3D1B016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027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30595E0-B9FD-48B5-8D33-268CBC6EB63C}" type="datetimeFigureOut">
              <a:rPr lang="de-DE" smtClean="0"/>
              <a:pPr/>
              <a:t>13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5562" tIns="47781" rIns="95562" bIns="47781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62928EF5-A62C-4775-BE32-0B4BBC13987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28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609722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219444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829166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438888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17892D0A-171A-4132-994E-C6F0FAF81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" y="3048"/>
            <a:ext cx="12185904" cy="6851904"/>
          </a:xfrm>
          <a:prstGeom prst="rect">
            <a:avLst/>
          </a:prstGeom>
        </p:spPr>
      </p:pic>
      <p:sp>
        <p:nvSpPr>
          <p:cNvPr id="18" name="Titel 7"/>
          <p:cNvSpPr txBox="1">
            <a:spLocks/>
          </p:cNvSpPr>
          <p:nvPr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398D452-0D2C-433A-BC8E-9C006A4F7BD6}"/>
              </a:ext>
            </a:extLst>
          </p:cNvPr>
          <p:cNvSpPr/>
          <p:nvPr/>
        </p:nvSpPr>
        <p:spPr>
          <a:xfrm>
            <a:off x="240059" y="4773150"/>
            <a:ext cx="11715050" cy="187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7"/>
          <p:cNvSpPr>
            <a:spLocks noGrp="1"/>
          </p:cNvSpPr>
          <p:nvPr>
            <p:ph type="ctrTitle"/>
          </p:nvPr>
        </p:nvSpPr>
        <p:spPr>
          <a:xfrm>
            <a:off x="240060" y="4773150"/>
            <a:ext cx="11715050" cy="1352591"/>
          </a:xfrm>
          <a:noFill/>
          <a:effectLst/>
        </p:spPr>
        <p:txBody>
          <a:bodyPr lIns="240048" tIns="120024" rIns="240048" bIns="720144" anchor="t" anchorCtr="0">
            <a:noAutofit/>
          </a:bodyPr>
          <a:lstStyle>
            <a:lvl1pPr algn="l">
              <a:defRPr sz="3999" baseline="0">
                <a:solidFill>
                  <a:schemeClr val="accent1"/>
                </a:solidFill>
              </a:defRPr>
            </a:lvl1pPr>
          </a:lstStyle>
          <a:p>
            <a:r>
              <a:rPr kumimoji="0" lang="de-DE"/>
              <a:t>Mastertitelformat bearbeiten</a:t>
            </a:r>
            <a:endParaRPr kumimoji="0" lang="en-US" dirty="0"/>
          </a:p>
        </p:txBody>
      </p:sp>
      <p:sp>
        <p:nvSpPr>
          <p:cNvPr id="15" name="Untertitel 8"/>
          <p:cNvSpPr>
            <a:spLocks noGrp="1"/>
          </p:cNvSpPr>
          <p:nvPr>
            <p:ph type="subTitle" idx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kumimoji="0" lang="de-DE"/>
              <a:t>Master-Untertitelformat bearbeiten</a:t>
            </a:r>
            <a:endParaRPr kumimoji="0" lang="en-US" dirty="0"/>
          </a:p>
        </p:txBody>
      </p:sp>
      <p:sp>
        <p:nvSpPr>
          <p:cNvPr id="11" name="Datumsplatzhalter 13"/>
          <p:cNvSpPr>
            <a:spLocks noGrp="1"/>
          </p:cNvSpPr>
          <p:nvPr>
            <p:ph type="dt" sz="half" idx="2"/>
          </p:nvPr>
        </p:nvSpPr>
        <p:spPr>
          <a:xfrm>
            <a:off x="494226" y="6256020"/>
            <a:ext cx="9189036" cy="121334"/>
          </a:xfrm>
          <a:prstGeom prst="rect">
            <a:avLst/>
          </a:prstGeom>
        </p:spPr>
        <p:txBody>
          <a:bodyPr lIns="0" anchor="ctr" anchorCtr="0"/>
          <a:lstStyle>
            <a:lvl1pPr marL="0" algn="l" defTabSz="1219200" rtl="0" eaLnBrk="1" latinLnBrk="0" hangingPunct="1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pic>
        <p:nvPicPr>
          <p:cNvPr id="48" name="Bild 20" descr="DRX_LO1407_RGB_RZ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pic>
        <p:nvPicPr>
          <p:cNvPr id="50" name="Bild 19" descr="DRX_LO1407_Claim_RGB_RZ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6404559"/>
            <a:ext cx="1296000" cy="107972"/>
          </a:xfrm>
          <a:prstGeom prst="rect">
            <a:avLst/>
          </a:prstGeom>
        </p:spPr>
      </p:pic>
      <p:cxnSp>
        <p:nvCxnSpPr>
          <p:cNvPr id="51" name="Gerade Verbindung 50"/>
          <p:cNvCxnSpPr/>
          <p:nvPr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4226" y="6366509"/>
            <a:ext cx="9184726" cy="215603"/>
          </a:xfrm>
          <a:prstGeom prst="rect">
            <a:avLst/>
          </a:prstGeom>
        </p:spPr>
        <p:txBody>
          <a:bodyPr lIns="0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2348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2BBE291B-8A14-4D97-908B-EFE9FCC558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6769133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DB3E9F7D-B8D3-4AE2-9079-3AAB64C0C99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39126236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7BB6443-2004-4402-83B6-9A1C81276484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436816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AE9D05DA-2E3E-48E8-9FC5-408FD39729E0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6017014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744FAC09-9371-40D7-B487-51FADACDC3B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547506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350B192-71BF-4DA4-8CA3-B91B81BB8D6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5470844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4332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9564082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5721C-3415-4FC1-A2C8-F7C0818B3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EFB683-5C1B-417D-8869-8F30D1830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F3A99E-3F75-4D2E-A598-68FC097C7B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27B5A3-1DB7-4EDE-B114-D019747BE7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590F12C-EA5E-4330-99A4-B535D6E0A2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89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6184030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9B978D3-FF7B-44EB-B697-CAE0ACBD2A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90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05452461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B62EF97-48E6-4AC0-AE53-0F979C519C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199365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B48BD1-78DF-4C71-91F5-CE3C9C563C8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388448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B48BD1-78DF-4C71-91F5-CE3C9C563C8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922322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37456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28A97ED-EA90-46F5-AB88-22726313DD7C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93221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554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65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1632247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F95B297-28A4-41B2-B66D-87B0A43E79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pic>
        <p:nvPicPr>
          <p:cNvPr id="18" name="Bild 20" descr="DRX_LO1407_RGB_RZ.eps">
            <a:extLst>
              <a:ext uri="{FF2B5EF4-FFF2-40B4-BE49-F238E27FC236}">
                <a16:creationId xmlns:a16="http://schemas.microsoft.com/office/drawing/2014/main" id="{9AB5D8C2-ACF1-49C0-BE11-4FF2767A12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FA21A5AC-3EE1-4DA3-8D79-7C43D8D4F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7911" y="2364373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 dirty="0"/>
              <a:t>First </a:t>
            </a:r>
            <a:r>
              <a:rPr lang="de-DE" sz="1200" b="1" dirty="0" err="1"/>
              <a:t>name</a:t>
            </a:r>
            <a:r>
              <a:rPr lang="de-DE" sz="1200" b="1" dirty="0"/>
              <a:t> Last </a:t>
            </a:r>
            <a:r>
              <a:rPr lang="de-DE" sz="1200" b="1" dirty="0" err="1"/>
              <a:t>name</a:t>
            </a:r>
            <a:endParaRPr lang="de-DE" dirty="0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E3776517-36AA-4A4E-B272-F19F6DB85A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911" y="274946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ducational </a:t>
            </a:r>
            <a:r>
              <a:rPr lang="de-DE" dirty="0" err="1"/>
              <a:t>degree</a:t>
            </a:r>
            <a:endParaRPr lang="de-DE" dirty="0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59AC1C2-74D1-4A03-8D58-029C9A2CB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7911" y="3082438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Organisational Unit / Head </a:t>
            </a:r>
            <a:r>
              <a:rPr lang="de-DE" dirty="0" err="1"/>
              <a:t>of</a:t>
            </a:r>
            <a:r>
              <a:rPr lang="de-DE" dirty="0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0910BA9-BC2D-4CF6-A6D9-FB8223743B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7911" y="3247322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3BEE9B4-81B9-489C-9424-B9AD62488D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8732" y="3477702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569B553B-5FD3-46BC-8088-05A66210AB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8732" y="364341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66DE97D5-539F-4028-9E3E-5E2686310E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7911" y="3870276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10B681-F53E-47BE-BCFE-C63C51C8CD4E}"/>
              </a:ext>
            </a:extLst>
          </p:cNvPr>
          <p:cNvSpPr/>
          <p:nvPr/>
        </p:nvSpPr>
        <p:spPr>
          <a:xfrm>
            <a:off x="4187911" y="4033588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 dirty="0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23E7F1E-85CB-412A-93E8-1798D77E2033}"/>
              </a:ext>
            </a:extLst>
          </p:cNvPr>
          <p:cNvSpPr txBox="1">
            <a:spLocks/>
          </p:cNvSpPr>
          <p:nvPr/>
        </p:nvSpPr>
        <p:spPr>
          <a:xfrm>
            <a:off x="6565900" y="2755901"/>
            <a:ext cx="1444544" cy="166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 dirty="0"/>
              <a:t>DRÄXLMAIER Group</a:t>
            </a:r>
          </a:p>
        </p:txBody>
      </p:sp>
      <p:sp>
        <p:nvSpPr>
          <p:cNvPr id="28" name="Textplatzhalter 16">
            <a:extLst>
              <a:ext uri="{FF2B5EF4-FFF2-40B4-BE49-F238E27FC236}">
                <a16:creationId xmlns:a16="http://schemas.microsoft.com/office/drawing/2014/main" id="{E689B8A6-2435-4013-ACA9-DBC1372D4F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7911" y="3477702"/>
            <a:ext cx="180821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D5BA6DFD-B51A-4DC9-9E27-5D2EC51B4B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5900" y="2922676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230434BD-C894-4892-A903-A91DFA3269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5900" y="3174879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F094D396-242D-4599-86FB-03EB85D932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7911" y="3643413"/>
            <a:ext cx="180821" cy="153888"/>
          </a:xfrm>
        </p:spPr>
        <p:txBody>
          <a:bodyPr/>
          <a:lstStyle>
            <a:lvl1pPr>
              <a:defRPr sz="1000"/>
            </a:lvl1pPr>
            <a:lvl2pPr marL="0" indent="0">
              <a:buNone/>
              <a:defRPr/>
            </a:lvl2pPr>
            <a:lvl3pPr marL="239182" indent="0">
              <a:buNone/>
              <a:defRPr/>
            </a:lvl3pPr>
            <a:lvl4pPr marL="478367" indent="0">
              <a:buNone/>
              <a:defRPr/>
            </a:lvl4pPr>
            <a:lvl5pPr marL="719666" indent="0">
              <a:buNone/>
              <a:defRPr/>
            </a:lvl5pPr>
          </a:lstStyle>
          <a:p>
            <a:pPr lvl="0"/>
            <a:r>
              <a:rPr lang="de-DE" dirty="0"/>
              <a:t>M </a:t>
            </a:r>
          </a:p>
        </p:txBody>
      </p:sp>
    </p:spTree>
    <p:extLst>
      <p:ext uri="{BB962C8B-B14F-4D97-AF65-F5344CB8AC3E}">
        <p14:creationId xmlns:p14="http://schemas.microsoft.com/office/powerpoint/2010/main" val="1422623844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ontac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4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881380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3DBDC87-2644-4E91-B0E0-BF0368466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39" y="1170305"/>
            <a:ext cx="1152000" cy="489727"/>
          </a:xfrm>
          <a:prstGeom prst="rect">
            <a:avLst/>
          </a:prstGeom>
        </p:spPr>
      </p:pic>
      <p:sp>
        <p:nvSpPr>
          <p:cNvPr id="18" name="Inhaltsplatzhalter 19">
            <a:extLst>
              <a:ext uri="{FF2B5EF4-FFF2-40B4-BE49-F238E27FC236}">
                <a16:creationId xmlns:a16="http://schemas.microsoft.com/office/drawing/2014/main" id="{B636A7FA-55E7-4107-AA08-C736EBBB830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31911" y="4141836"/>
            <a:ext cx="6531352" cy="18468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E48FF13-8F91-4784-A97B-8C414F5DA6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6006" y="1610834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 dirty="0"/>
              <a:t>First </a:t>
            </a:r>
            <a:r>
              <a:rPr lang="de-DE" sz="1200" b="1" dirty="0" err="1"/>
              <a:t>name</a:t>
            </a:r>
            <a:r>
              <a:rPr lang="de-DE" sz="1200" b="1" dirty="0"/>
              <a:t> Last </a:t>
            </a:r>
            <a:r>
              <a:rPr lang="de-DE" sz="1200" b="1" dirty="0" err="1"/>
              <a:t>name</a:t>
            </a:r>
            <a:endParaRPr lang="de-DE" dirty="0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99C99D3C-288E-448F-B1B4-E51856E155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6006" y="1995930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ducational </a:t>
            </a:r>
            <a:r>
              <a:rPr lang="de-DE" dirty="0" err="1"/>
              <a:t>degree</a:t>
            </a:r>
            <a:endParaRPr lang="de-DE" dirty="0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EDD4CC3-E060-4C66-BE6D-1CC3DD5C19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006" y="232889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Organisational Unit / Head </a:t>
            </a:r>
            <a:r>
              <a:rPr lang="de-DE" dirty="0" err="1"/>
              <a:t>of</a:t>
            </a:r>
            <a:r>
              <a:rPr lang="de-DE" dirty="0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C89D91-67B0-457C-A329-4ED2C6772B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006" y="2493783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37EBD4F-1BC2-4C63-8876-A4AEAFCFC3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6827" y="272416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C10B9E1D-0772-43E4-8EF9-ED0BF350F9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6827" y="2889874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D7508E7-C604-4F42-9D54-96AD10AE75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006" y="3116737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CA0A547-FF05-4B28-8EEC-44128317F25D}"/>
              </a:ext>
            </a:extLst>
          </p:cNvPr>
          <p:cNvSpPr/>
          <p:nvPr/>
        </p:nvSpPr>
        <p:spPr>
          <a:xfrm>
            <a:off x="4186006" y="3280049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 dirty="0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F0BBCFC-29E9-4944-A4C8-967D9E435E80}"/>
              </a:ext>
            </a:extLst>
          </p:cNvPr>
          <p:cNvSpPr txBox="1">
            <a:spLocks/>
          </p:cNvSpPr>
          <p:nvPr/>
        </p:nvSpPr>
        <p:spPr>
          <a:xfrm>
            <a:off x="6563995" y="2002362"/>
            <a:ext cx="1444544" cy="1657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 dirty="0"/>
              <a:t>DRÄXLMAIER Group</a:t>
            </a:r>
          </a:p>
        </p:txBody>
      </p:sp>
      <p:sp>
        <p:nvSpPr>
          <p:cNvPr id="28" name="Textplatzhalter 16">
            <a:extLst>
              <a:ext uri="{FF2B5EF4-FFF2-40B4-BE49-F238E27FC236}">
                <a16:creationId xmlns:a16="http://schemas.microsoft.com/office/drawing/2014/main" id="{449FA0D1-1368-4C05-9A54-6E02C4CD45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6006" y="2724163"/>
            <a:ext cx="180821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10FB2AB1-9AA8-432E-85E5-3FE7D74109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995" y="2168120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783DEBE8-AECE-46B7-AA36-CC2BC83352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63995" y="2420323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32171D20-BD25-45CF-9225-E862CB7EAF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86006" y="2889874"/>
            <a:ext cx="180821" cy="153888"/>
          </a:xfrm>
        </p:spPr>
        <p:txBody>
          <a:bodyPr/>
          <a:lstStyle>
            <a:lvl1pPr>
              <a:defRPr sz="1000"/>
            </a:lvl1pPr>
            <a:lvl2pPr marL="0" indent="0">
              <a:buNone/>
              <a:defRPr/>
            </a:lvl2pPr>
            <a:lvl3pPr marL="239182" indent="0">
              <a:buNone/>
              <a:defRPr/>
            </a:lvl3pPr>
            <a:lvl4pPr marL="478367" indent="0">
              <a:buNone/>
              <a:defRPr/>
            </a:lvl4pPr>
            <a:lvl5pPr marL="719666" indent="0">
              <a:buNone/>
              <a:defRPr/>
            </a:lvl5pPr>
          </a:lstStyle>
          <a:p>
            <a:pPr lvl="0"/>
            <a:r>
              <a:rPr lang="de-DE" dirty="0"/>
              <a:t>M </a:t>
            </a:r>
          </a:p>
        </p:txBody>
      </p:sp>
    </p:spTree>
    <p:extLst>
      <p:ext uri="{BB962C8B-B14F-4D97-AF65-F5344CB8AC3E}">
        <p14:creationId xmlns:p14="http://schemas.microsoft.com/office/powerpoint/2010/main" val="2421050561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4001" y="2448789"/>
            <a:ext cx="11545587" cy="1732452"/>
          </a:xfrm>
        </p:spPr>
        <p:txBody>
          <a:bodyPr tIns="72000" bIns="72000" anchor="b"/>
          <a:lstStyle>
            <a:lvl1pPr>
              <a:defRPr sz="5999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hapter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322263" y="4181241"/>
            <a:ext cx="11545587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1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323332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176B9DA7-F8F6-48F6-A234-C6F4B7EFEF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5522450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14286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2450426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921988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5557731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547797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6101191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861319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/>
          <a:p>
            <a:r>
              <a:rPr kumimoji="0" lang="de-DE" dirty="0"/>
              <a:t>Titelmasterformat durch Klicken bearbeiten</a:t>
            </a:r>
            <a:endParaRPr kumimoji="0"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324000" y="1526078"/>
            <a:ext cx="11545588" cy="47832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26" name="Gerade Verbindung 25"/>
          <p:cNvCxnSpPr/>
          <p:nvPr>
            <p:custDataLst>
              <p:tags r:id="rId28"/>
            </p:custDataLst>
          </p:nvPr>
        </p:nvCxnSpPr>
        <p:spPr>
          <a:xfrm flipV="1">
            <a:off x="1" y="6381582"/>
            <a:ext cx="12195175" cy="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0" name="Bild 20" descr="DRX_LO1407_RGB_RZ.eps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sp>
        <p:nvSpPr>
          <p:cNvPr id="2" name="MSIPCMContentMarking" descr="{&quot;HashCode&quot;:-464112158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4DBC20B3-AFCD-45E0-98A4-84231F465378}"/>
              </a:ext>
            </a:extLst>
          </p:cNvPr>
          <p:cNvSpPr txBox="1"/>
          <p:nvPr userDrawn="1"/>
        </p:nvSpPr>
        <p:spPr>
          <a:xfrm>
            <a:off x="0" y="6656129"/>
            <a:ext cx="3934875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  <a:latin typeface="Arial" panose="020B0604020202020204" pitchFamily="34" charset="0"/>
              </a:rPr>
              <a:t>Internal: All rights reserved. Distribution within DRÄXLMAIER Group, customer and partners</a:t>
            </a:r>
            <a:endParaRPr lang="de-DE" sz="70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475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28" r:id="rId3"/>
    <p:sldLayoutId id="2147483747" r:id="rId4"/>
    <p:sldLayoutId id="2147483748" r:id="rId5"/>
    <p:sldLayoutId id="2147483756" r:id="rId6"/>
    <p:sldLayoutId id="2147483757" r:id="rId7"/>
    <p:sldLayoutId id="2147483731" r:id="rId8"/>
    <p:sldLayoutId id="2147483744" r:id="rId9"/>
    <p:sldLayoutId id="2147483729" r:id="rId10"/>
    <p:sldLayoutId id="2147483730" r:id="rId11"/>
    <p:sldLayoutId id="2147483749" r:id="rId12"/>
    <p:sldLayoutId id="2147483750" r:id="rId13"/>
    <p:sldLayoutId id="2147483758" r:id="rId14"/>
    <p:sldLayoutId id="2147483759" r:id="rId15"/>
    <p:sldLayoutId id="2147483745" r:id="rId16"/>
    <p:sldLayoutId id="2147483746" r:id="rId17"/>
    <p:sldLayoutId id="2147483751" r:id="rId18"/>
    <p:sldLayoutId id="2147483752" r:id="rId19"/>
    <p:sldLayoutId id="2147483753" r:id="rId20"/>
    <p:sldLayoutId id="2147483760" r:id="rId21"/>
    <p:sldLayoutId id="2147483716" r:id="rId22"/>
    <p:sldLayoutId id="2147483754" r:id="rId23"/>
    <p:sldLayoutId id="2147483717" r:id="rId24"/>
    <p:sldLayoutId id="2147483718" r:id="rId25"/>
    <p:sldLayoutId id="2147483721" r:id="rId26"/>
  </p:sldLayoutIdLst>
  <p:hf hdr="0"/>
  <p:txStyles>
    <p:titleStyle>
      <a:lvl1pPr algn="l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kumimoji="0" sz="26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8">
          <p15:clr>
            <a:srgbClr val="F26B43"/>
          </p15:clr>
        </p15:guide>
        <p15:guide id="2" pos="203">
          <p15:clr>
            <a:srgbClr val="F26B43"/>
          </p15:clr>
        </p15:guide>
        <p15:guide id="3" pos="7477">
          <p15:clr>
            <a:srgbClr val="F26B43"/>
          </p15:clr>
        </p15:guide>
        <p15:guide id="4" orient="horz" pos="883">
          <p15:clr>
            <a:srgbClr val="F26B43"/>
          </p15:clr>
        </p15:guide>
        <p15:guide id="5" orient="horz" pos="961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2636" userDrawn="1">
          <p15:clr>
            <a:srgbClr val="F26B43"/>
          </p15:clr>
        </p15:guide>
        <p15:guide id="8" pos="4748" userDrawn="1">
          <p15:clr>
            <a:srgbClr val="F26B43"/>
          </p15:clr>
        </p15:guide>
        <p15:guide id="9" pos="29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3.06.2023    214 AMB Melexis_Elmos </a:t>
            </a:r>
            <a:r>
              <a:rPr lang="en-US" dirty="0"/>
              <a:t>| Becker </a:t>
            </a:r>
            <a:r>
              <a:rPr lang="en-US"/>
              <a:t>Werner OG11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10" name="Titel 4">
            <a:extLst>
              <a:ext uri="{FF2B5EF4-FFF2-40B4-BE49-F238E27FC236}">
                <a16:creationId xmlns:a16="http://schemas.microsoft.com/office/drawing/2014/main" id="{5D2ACAD7-49C4-F652-EFF1-0740A6A36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8"/>
            <a:ext cx="9697138" cy="526810"/>
          </a:xfrm>
        </p:spPr>
        <p:txBody>
          <a:bodyPr/>
          <a:lstStyle/>
          <a:p>
            <a:r>
              <a:rPr lang="de-DE" err="1"/>
              <a:t>Highlevel</a:t>
            </a:r>
            <a:r>
              <a:rPr lang="de-DE"/>
              <a:t> production 214 AMB Melexis/ Elmos 26.05.2023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05FFDEF-00D0-077B-8452-2F0D3931FE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85" y="997131"/>
            <a:ext cx="12027732" cy="508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2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5.10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C89BD-BF87-45F2-8B82-AB94F8CFB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CBC068E0-7515-4EA6-91F5-FCBB949AB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7"/>
            <a:ext cx="9697138" cy="861319"/>
          </a:xfrm>
        </p:spPr>
        <p:txBody>
          <a:bodyPr/>
          <a:lstStyle/>
          <a:p>
            <a:r>
              <a:rPr lang="de-DE" dirty="0" err="1"/>
              <a:t>Highlevel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W214 AMB Project – Lights </a:t>
            </a:r>
            <a:r>
              <a:rPr lang="de-DE" dirty="0">
                <a:solidFill>
                  <a:srgbClr val="E72D34"/>
                </a:solidFill>
              </a:rPr>
              <a:t>1178 TEM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96123B90-83FA-4B5E-8F7F-A17CAE77D8E1}"/>
              </a:ext>
            </a:extLst>
          </p:cNvPr>
          <p:cNvSpPr txBox="1"/>
          <p:nvPr/>
        </p:nvSpPr>
        <p:spPr>
          <a:xfrm>
            <a:off x="1174428" y="5319643"/>
            <a:ext cx="2419800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E72D34"/>
                </a:solidFill>
              </a:rPr>
              <a:t>300061599-002 (Master #11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63473-002 UL_W3000K_S5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590000553-001 75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1EA9F35B-39B9-4C78-B7C2-E2F33F7A9B83}"/>
              </a:ext>
            </a:extLst>
          </p:cNvPr>
          <p:cNvSpPr/>
          <p:nvPr/>
        </p:nvSpPr>
        <p:spPr>
          <a:xfrm>
            <a:off x="1113209" y="953840"/>
            <a:ext cx="6060675" cy="5281261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4C8AF0B6-1739-400D-A24F-6431E42F8CB0}"/>
              </a:ext>
            </a:extLst>
          </p:cNvPr>
          <p:cNvSpPr txBox="1"/>
          <p:nvPr/>
        </p:nvSpPr>
        <p:spPr>
          <a:xfrm>
            <a:off x="2064810" y="4352845"/>
            <a:ext cx="259455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 err="1">
                <a:solidFill>
                  <a:srgbClr val="FF0000"/>
                </a:solidFill>
              </a:rPr>
              <a:t>Difference</a:t>
            </a:r>
            <a:r>
              <a:rPr lang="de-DE" sz="1200" u="sng" dirty="0">
                <a:solidFill>
                  <a:srgbClr val="FF0000"/>
                </a:solidFill>
              </a:rPr>
              <a:t> ELFE  </a:t>
            </a:r>
            <a:r>
              <a:rPr lang="de-DE" sz="1200" u="sng" dirty="0" err="1">
                <a:solidFill>
                  <a:srgbClr val="FF0000"/>
                </a:solidFill>
              </a:rPr>
              <a:t>resitor</a:t>
            </a:r>
            <a:r>
              <a:rPr lang="de-DE" sz="1200" u="sng" dirty="0">
                <a:solidFill>
                  <a:srgbClr val="FF0000"/>
                </a:solidFill>
              </a:rPr>
              <a:t> BOP &amp; BOM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A3B51860-8F51-424C-BECF-55541C9F3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0765" y="3877718"/>
            <a:ext cx="490073" cy="254838"/>
          </a:xfrm>
          <a:prstGeom prst="rect">
            <a:avLst/>
          </a:prstGeom>
        </p:spPr>
      </p:pic>
      <p:sp>
        <p:nvSpPr>
          <p:cNvPr id="38" name="Pfeil: nach oben gekrümmt 37">
            <a:extLst>
              <a:ext uri="{FF2B5EF4-FFF2-40B4-BE49-F238E27FC236}">
                <a16:creationId xmlns:a16="http://schemas.microsoft.com/office/drawing/2014/main" id="{7E15E13B-7A20-45DA-B325-E910FB7A38A4}"/>
              </a:ext>
            </a:extLst>
          </p:cNvPr>
          <p:cNvSpPr/>
          <p:nvPr/>
        </p:nvSpPr>
        <p:spPr>
          <a:xfrm rot="19602930">
            <a:off x="4864150" y="4260511"/>
            <a:ext cx="935821" cy="369332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E339024-C6EB-4D1C-96FF-64172107F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3109" y="1081607"/>
            <a:ext cx="1455457" cy="613402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44475E48-6CCB-41A8-9D11-CBAD42A815A7}"/>
              </a:ext>
            </a:extLst>
          </p:cNvPr>
          <p:cNvSpPr txBox="1"/>
          <p:nvPr/>
        </p:nvSpPr>
        <p:spPr>
          <a:xfrm>
            <a:off x="1174426" y="965293"/>
            <a:ext cx="348493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defRPr sz="1200" u="sng">
                <a:solidFill>
                  <a:srgbClr val="FF0000"/>
                </a:solidFill>
              </a:defRPr>
            </a:lvl1pPr>
          </a:lstStyle>
          <a:p>
            <a:r>
              <a:rPr lang="de-DE" dirty="0"/>
              <a:t>2 </a:t>
            </a:r>
            <a:r>
              <a:rPr lang="de-DE" dirty="0" err="1"/>
              <a:t>Variants</a:t>
            </a:r>
            <a:r>
              <a:rPr lang="de-DE" dirty="0"/>
              <a:t> </a:t>
            </a:r>
            <a:r>
              <a:rPr lang="pl-PL" dirty="0"/>
              <a:t>UL_W3000K_Warm_</a:t>
            </a:r>
            <a:r>
              <a:rPr lang="de-DE" dirty="0" err="1"/>
              <a:t>macchiatobeige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300061599-002 </a:t>
            </a:r>
            <a:r>
              <a:rPr lang="de-DE" u="none" dirty="0" err="1"/>
              <a:t>machiabeige</a:t>
            </a:r>
            <a:r>
              <a:rPr lang="de-DE" u="none" dirty="0"/>
              <a:t>(#11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300061600-002 BR214_UL_Gehaeuse_W_macchiatobeig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3E72CB5-1E7C-4601-A612-A9BEF5264A45}"/>
              </a:ext>
            </a:extLst>
          </p:cNvPr>
          <p:cNvSpPr txBox="1"/>
          <p:nvPr/>
        </p:nvSpPr>
        <p:spPr>
          <a:xfrm>
            <a:off x="3570308" y="5310423"/>
            <a:ext cx="2837666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E72D34"/>
                </a:solidFill>
              </a:rPr>
              <a:t>106237119-004 (Production Version #12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63474-002 UL_W3000K_S5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590000554 001 82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1D2C5D8-8FA7-4072-99EC-BB5B0B7A316C}"/>
              </a:ext>
            </a:extLst>
          </p:cNvPr>
          <p:cNvSpPr txBox="1"/>
          <p:nvPr/>
        </p:nvSpPr>
        <p:spPr>
          <a:xfrm>
            <a:off x="5697138" y="4266168"/>
            <a:ext cx="1255152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Manual </a:t>
            </a:r>
            <a:r>
              <a:rPr lang="de-DE" sz="1050" dirty="0" err="1">
                <a:solidFill>
                  <a:srgbClr val="FF0000"/>
                </a:solidFill>
              </a:rPr>
              <a:t>assignment</a:t>
            </a:r>
            <a:endParaRPr lang="de-DE" sz="1050" dirty="0">
              <a:solidFill>
                <a:srgbClr val="FF0000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ELFE </a:t>
            </a:r>
            <a:r>
              <a:rPr lang="de-DE" sz="1050" dirty="0" err="1">
                <a:solidFill>
                  <a:srgbClr val="FF0000"/>
                </a:solidFill>
              </a:rPr>
              <a:t>part</a:t>
            </a:r>
            <a:r>
              <a:rPr lang="de-DE" sz="1050" dirty="0">
                <a:solidFill>
                  <a:srgbClr val="FF0000"/>
                </a:solidFill>
              </a:rPr>
              <a:t> </a:t>
            </a:r>
            <a:r>
              <a:rPr lang="de-DE" sz="1050" dirty="0" err="1">
                <a:solidFill>
                  <a:srgbClr val="FF0000"/>
                </a:solidFill>
              </a:rPr>
              <a:t>to</a:t>
            </a:r>
            <a:r>
              <a:rPr lang="de-DE" sz="1050" dirty="0">
                <a:solidFill>
                  <a:srgbClr val="FF0000"/>
                </a:solidFill>
              </a:rPr>
              <a:t> FAUF?!</a:t>
            </a:r>
          </a:p>
        </p:txBody>
      </p:sp>
      <p:sp>
        <p:nvSpPr>
          <p:cNvPr id="29" name="Geschweifte Klammer rechts 28">
            <a:extLst>
              <a:ext uri="{FF2B5EF4-FFF2-40B4-BE49-F238E27FC236}">
                <a16:creationId xmlns:a16="http://schemas.microsoft.com/office/drawing/2014/main" id="{3E26C7F7-F37A-4AB6-8347-21DFDDBCE253}"/>
              </a:ext>
            </a:extLst>
          </p:cNvPr>
          <p:cNvSpPr/>
          <p:nvPr/>
        </p:nvSpPr>
        <p:spPr>
          <a:xfrm>
            <a:off x="4319837" y="3574515"/>
            <a:ext cx="125335" cy="303203"/>
          </a:xfrm>
          <a:prstGeom prst="rightBrac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FD46379-6D7E-44BC-82CF-F5522C53AC56}"/>
              </a:ext>
            </a:extLst>
          </p:cNvPr>
          <p:cNvSpPr txBox="1"/>
          <p:nvPr/>
        </p:nvSpPr>
        <p:spPr>
          <a:xfrm>
            <a:off x="4989141" y="3719493"/>
            <a:ext cx="8354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dirty="0" err="1"/>
              <a:t>Rutronik</a:t>
            </a:r>
            <a:endParaRPr lang="de-DE" sz="12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4D60B74-9647-446E-A536-3A9301A2BD71}"/>
              </a:ext>
            </a:extLst>
          </p:cNvPr>
          <p:cNvSpPr txBox="1"/>
          <p:nvPr/>
        </p:nvSpPr>
        <p:spPr>
          <a:xfrm>
            <a:off x="4750720" y="2700716"/>
            <a:ext cx="16811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nual </a:t>
            </a:r>
            <a:r>
              <a:rPr lang="de-DE" sz="1200" dirty="0" err="1">
                <a:solidFill>
                  <a:srgbClr val="FF0000"/>
                </a:solidFill>
              </a:rPr>
              <a:t>Indication</a:t>
            </a:r>
            <a:r>
              <a:rPr lang="de-DE" sz="1200" dirty="0">
                <a:solidFill>
                  <a:srgbClr val="FF0000"/>
                </a:solidFill>
              </a:rPr>
              <a:t> on </a:t>
            </a:r>
            <a:r>
              <a:rPr lang="de-DE" sz="1200" dirty="0" err="1">
                <a:solidFill>
                  <a:srgbClr val="FF0000"/>
                </a:solidFill>
              </a:rPr>
              <a:t>the</a:t>
            </a:r>
            <a:r>
              <a:rPr lang="de-DE" sz="1200" dirty="0">
                <a:solidFill>
                  <a:srgbClr val="FF0000"/>
                </a:solidFill>
              </a:rPr>
              <a:t> LED-Comp. </a:t>
            </a:r>
            <a:r>
              <a:rPr lang="de-DE" sz="1200" dirty="0" err="1">
                <a:solidFill>
                  <a:srgbClr val="FF0000"/>
                </a:solidFill>
              </a:rPr>
              <a:t>from</a:t>
            </a:r>
            <a:r>
              <a:rPr lang="de-DE" sz="1200" dirty="0">
                <a:solidFill>
                  <a:srgbClr val="FF0000"/>
                </a:solidFill>
              </a:rPr>
              <a:t> supplier Avnet: </a:t>
            </a:r>
          </a:p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t.no. 590005221-001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6C5D943-FEC8-4DF5-BAB0-AC04792AE136}"/>
              </a:ext>
            </a:extLst>
          </p:cNvPr>
          <p:cNvCxnSpPr>
            <a:cxnSpLocks/>
            <a:stCxn id="29" idx="1"/>
            <a:endCxn id="30" idx="1"/>
          </p:cNvCxnSpPr>
          <p:nvPr/>
        </p:nvCxnSpPr>
        <p:spPr>
          <a:xfrm>
            <a:off x="4445172" y="3726117"/>
            <a:ext cx="543969" cy="85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FE40C1D0-44F9-4852-9689-83FCFC48A253}"/>
              </a:ext>
            </a:extLst>
          </p:cNvPr>
          <p:cNvCxnSpPr>
            <a:cxnSpLocks/>
            <a:stCxn id="31" idx="2"/>
            <a:endCxn id="30" idx="0"/>
          </p:cNvCxnSpPr>
          <p:nvPr/>
        </p:nvCxnSpPr>
        <p:spPr>
          <a:xfrm flipH="1">
            <a:off x="5406850" y="3439380"/>
            <a:ext cx="184457" cy="28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0375EA28-A7F7-4B2A-A165-5473824C6EA0}"/>
              </a:ext>
            </a:extLst>
          </p:cNvPr>
          <p:cNvCxnSpPr>
            <a:cxnSpLocks/>
            <a:endCxn id="31" idx="2"/>
          </p:cNvCxnSpPr>
          <p:nvPr/>
        </p:nvCxnSpPr>
        <p:spPr>
          <a:xfrm>
            <a:off x="4181302" y="3418338"/>
            <a:ext cx="1410005" cy="21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881F8E16-9D73-4B86-AEC7-4AF5466991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5265" y="2296850"/>
            <a:ext cx="3174572" cy="190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52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5.10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C89BD-BF87-45F2-8B82-AB94F8CFB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CBC068E0-7515-4EA6-91F5-FCBB949AB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7"/>
            <a:ext cx="9697138" cy="861319"/>
          </a:xfrm>
        </p:spPr>
        <p:txBody>
          <a:bodyPr/>
          <a:lstStyle/>
          <a:p>
            <a:r>
              <a:rPr lang="de-DE" dirty="0" err="1"/>
              <a:t>Highlevel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W214 AMB Project – Lights </a:t>
            </a:r>
            <a:r>
              <a:rPr lang="de-DE" dirty="0">
                <a:solidFill>
                  <a:srgbClr val="E72D34"/>
                </a:solidFill>
              </a:rPr>
              <a:t>1178 TEM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96123B90-83FA-4B5E-8F7F-A17CAE77D8E1}"/>
              </a:ext>
            </a:extLst>
          </p:cNvPr>
          <p:cNvSpPr txBox="1"/>
          <p:nvPr/>
        </p:nvSpPr>
        <p:spPr>
          <a:xfrm>
            <a:off x="1174428" y="5319643"/>
            <a:ext cx="2419800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E72D34"/>
                </a:solidFill>
              </a:rPr>
              <a:t>300061601-002 (Master #13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63473-002 UL_W3000K_S5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590000553-001 75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1EA9F35B-39B9-4C78-B7C2-E2F33F7A9B83}"/>
              </a:ext>
            </a:extLst>
          </p:cNvPr>
          <p:cNvSpPr/>
          <p:nvPr/>
        </p:nvSpPr>
        <p:spPr>
          <a:xfrm>
            <a:off x="1113209" y="953840"/>
            <a:ext cx="6060675" cy="5281261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4C8AF0B6-1739-400D-A24F-6431E42F8CB0}"/>
              </a:ext>
            </a:extLst>
          </p:cNvPr>
          <p:cNvSpPr txBox="1"/>
          <p:nvPr/>
        </p:nvSpPr>
        <p:spPr>
          <a:xfrm>
            <a:off x="2064810" y="4352845"/>
            <a:ext cx="259455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 err="1">
                <a:solidFill>
                  <a:srgbClr val="FF0000"/>
                </a:solidFill>
              </a:rPr>
              <a:t>Difference</a:t>
            </a:r>
            <a:r>
              <a:rPr lang="de-DE" sz="1200" u="sng" dirty="0">
                <a:solidFill>
                  <a:srgbClr val="FF0000"/>
                </a:solidFill>
              </a:rPr>
              <a:t> ELFE  </a:t>
            </a:r>
            <a:r>
              <a:rPr lang="de-DE" sz="1200" u="sng" dirty="0" err="1">
                <a:solidFill>
                  <a:srgbClr val="FF0000"/>
                </a:solidFill>
              </a:rPr>
              <a:t>resitor</a:t>
            </a:r>
            <a:r>
              <a:rPr lang="de-DE" sz="1200" u="sng" dirty="0">
                <a:solidFill>
                  <a:srgbClr val="FF0000"/>
                </a:solidFill>
              </a:rPr>
              <a:t> BOP &amp; BOM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A3B51860-8F51-424C-BECF-55541C9F3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0765" y="3877718"/>
            <a:ext cx="490073" cy="254838"/>
          </a:xfrm>
          <a:prstGeom prst="rect">
            <a:avLst/>
          </a:prstGeom>
        </p:spPr>
      </p:pic>
      <p:sp>
        <p:nvSpPr>
          <p:cNvPr id="38" name="Pfeil: nach oben gekrümmt 37">
            <a:extLst>
              <a:ext uri="{FF2B5EF4-FFF2-40B4-BE49-F238E27FC236}">
                <a16:creationId xmlns:a16="http://schemas.microsoft.com/office/drawing/2014/main" id="{7E15E13B-7A20-45DA-B325-E910FB7A38A4}"/>
              </a:ext>
            </a:extLst>
          </p:cNvPr>
          <p:cNvSpPr/>
          <p:nvPr/>
        </p:nvSpPr>
        <p:spPr>
          <a:xfrm rot="19602930">
            <a:off x="4864150" y="4260511"/>
            <a:ext cx="935821" cy="369332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E339024-C6EB-4D1C-96FF-64172107F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3109" y="1081607"/>
            <a:ext cx="1455457" cy="613402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44475E48-6CCB-41A8-9D11-CBAD42A815A7}"/>
              </a:ext>
            </a:extLst>
          </p:cNvPr>
          <p:cNvSpPr txBox="1"/>
          <p:nvPr/>
        </p:nvSpPr>
        <p:spPr>
          <a:xfrm>
            <a:off x="1174426" y="965293"/>
            <a:ext cx="300687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defRPr sz="1200" u="sng">
                <a:solidFill>
                  <a:srgbClr val="FF0000"/>
                </a:solidFill>
              </a:defRPr>
            </a:lvl1pPr>
          </a:lstStyle>
          <a:p>
            <a:r>
              <a:rPr lang="de-DE" dirty="0"/>
              <a:t>2 </a:t>
            </a:r>
            <a:r>
              <a:rPr lang="de-DE" dirty="0" err="1"/>
              <a:t>Variants</a:t>
            </a:r>
            <a:r>
              <a:rPr lang="de-DE" dirty="0"/>
              <a:t> </a:t>
            </a:r>
            <a:r>
              <a:rPr lang="pl-PL" dirty="0"/>
              <a:t>UL_W3000K_Warm_</a:t>
            </a:r>
            <a:r>
              <a:rPr lang="de-DE" dirty="0" err="1"/>
              <a:t>nevagrau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300061601-002 </a:t>
            </a:r>
            <a:r>
              <a:rPr lang="de-DE" u="none" dirty="0" err="1"/>
              <a:t>nevagrau</a:t>
            </a:r>
            <a:r>
              <a:rPr lang="de-DE" u="none" dirty="0"/>
              <a:t> (#13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300061602-002 </a:t>
            </a:r>
            <a:r>
              <a:rPr lang="pl-PL" u="none" dirty="0"/>
              <a:t>BR214_UL_Gehaeuse_W_nevagrau</a:t>
            </a:r>
            <a:endParaRPr lang="de-DE" u="non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3E72CB5-1E7C-4601-A612-A9BEF5264A45}"/>
              </a:ext>
            </a:extLst>
          </p:cNvPr>
          <p:cNvSpPr txBox="1"/>
          <p:nvPr/>
        </p:nvSpPr>
        <p:spPr>
          <a:xfrm>
            <a:off x="3570308" y="5310423"/>
            <a:ext cx="2837666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E72D34"/>
                </a:solidFill>
              </a:rPr>
              <a:t>(Production Version #14)</a:t>
            </a:r>
          </a:p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E72D34"/>
                </a:solidFill>
              </a:rPr>
              <a:t>???</a:t>
            </a:r>
            <a:r>
              <a:rPr lang="de-DE" sz="1200" dirty="0"/>
              <a:t> UL_W3000K_S5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590000554 001 82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1D2C5D8-8FA7-4072-99EC-BB5B0B7A316C}"/>
              </a:ext>
            </a:extLst>
          </p:cNvPr>
          <p:cNvSpPr txBox="1"/>
          <p:nvPr/>
        </p:nvSpPr>
        <p:spPr>
          <a:xfrm>
            <a:off x="5697138" y="4266168"/>
            <a:ext cx="1255152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Manual </a:t>
            </a:r>
            <a:r>
              <a:rPr lang="de-DE" sz="1050" dirty="0" err="1">
                <a:solidFill>
                  <a:srgbClr val="FF0000"/>
                </a:solidFill>
              </a:rPr>
              <a:t>assignment</a:t>
            </a:r>
            <a:endParaRPr lang="de-DE" sz="1050" dirty="0">
              <a:solidFill>
                <a:srgbClr val="FF0000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ELFE </a:t>
            </a:r>
            <a:r>
              <a:rPr lang="de-DE" sz="1050" dirty="0" err="1">
                <a:solidFill>
                  <a:srgbClr val="FF0000"/>
                </a:solidFill>
              </a:rPr>
              <a:t>part</a:t>
            </a:r>
            <a:r>
              <a:rPr lang="de-DE" sz="1050" dirty="0">
                <a:solidFill>
                  <a:srgbClr val="FF0000"/>
                </a:solidFill>
              </a:rPr>
              <a:t> </a:t>
            </a:r>
            <a:r>
              <a:rPr lang="de-DE" sz="1050" dirty="0" err="1">
                <a:solidFill>
                  <a:srgbClr val="FF0000"/>
                </a:solidFill>
              </a:rPr>
              <a:t>to</a:t>
            </a:r>
            <a:r>
              <a:rPr lang="de-DE" sz="1050" dirty="0">
                <a:solidFill>
                  <a:srgbClr val="FF0000"/>
                </a:solidFill>
              </a:rPr>
              <a:t> FAUF?!</a:t>
            </a:r>
          </a:p>
        </p:txBody>
      </p:sp>
      <p:sp>
        <p:nvSpPr>
          <p:cNvPr id="29" name="Geschweifte Klammer rechts 28">
            <a:extLst>
              <a:ext uri="{FF2B5EF4-FFF2-40B4-BE49-F238E27FC236}">
                <a16:creationId xmlns:a16="http://schemas.microsoft.com/office/drawing/2014/main" id="{3E26C7F7-F37A-4AB6-8347-21DFDDBCE253}"/>
              </a:ext>
            </a:extLst>
          </p:cNvPr>
          <p:cNvSpPr/>
          <p:nvPr/>
        </p:nvSpPr>
        <p:spPr>
          <a:xfrm>
            <a:off x="4248460" y="3567891"/>
            <a:ext cx="125335" cy="303203"/>
          </a:xfrm>
          <a:prstGeom prst="rightBrac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FD46379-6D7E-44BC-82CF-F5522C53AC56}"/>
              </a:ext>
            </a:extLst>
          </p:cNvPr>
          <p:cNvSpPr txBox="1"/>
          <p:nvPr/>
        </p:nvSpPr>
        <p:spPr>
          <a:xfrm>
            <a:off x="4989141" y="3719493"/>
            <a:ext cx="8354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dirty="0" err="1"/>
              <a:t>Rutronik</a:t>
            </a:r>
            <a:endParaRPr lang="de-DE" sz="12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4D60B74-9647-446E-A536-3A9301A2BD71}"/>
              </a:ext>
            </a:extLst>
          </p:cNvPr>
          <p:cNvSpPr txBox="1"/>
          <p:nvPr/>
        </p:nvSpPr>
        <p:spPr>
          <a:xfrm>
            <a:off x="4750720" y="2700716"/>
            <a:ext cx="16811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nual </a:t>
            </a:r>
            <a:r>
              <a:rPr lang="de-DE" sz="1200" dirty="0" err="1">
                <a:solidFill>
                  <a:srgbClr val="FF0000"/>
                </a:solidFill>
              </a:rPr>
              <a:t>Indication</a:t>
            </a:r>
            <a:r>
              <a:rPr lang="de-DE" sz="1200" dirty="0">
                <a:solidFill>
                  <a:srgbClr val="FF0000"/>
                </a:solidFill>
              </a:rPr>
              <a:t> on </a:t>
            </a:r>
            <a:r>
              <a:rPr lang="de-DE" sz="1200" dirty="0" err="1">
                <a:solidFill>
                  <a:srgbClr val="FF0000"/>
                </a:solidFill>
              </a:rPr>
              <a:t>the</a:t>
            </a:r>
            <a:r>
              <a:rPr lang="de-DE" sz="1200" dirty="0">
                <a:solidFill>
                  <a:srgbClr val="FF0000"/>
                </a:solidFill>
              </a:rPr>
              <a:t> LED-Comp. </a:t>
            </a:r>
            <a:r>
              <a:rPr lang="de-DE" sz="1200" dirty="0" err="1">
                <a:solidFill>
                  <a:srgbClr val="FF0000"/>
                </a:solidFill>
              </a:rPr>
              <a:t>from</a:t>
            </a:r>
            <a:r>
              <a:rPr lang="de-DE" sz="1200" dirty="0">
                <a:solidFill>
                  <a:srgbClr val="FF0000"/>
                </a:solidFill>
              </a:rPr>
              <a:t> supplier Avnet: </a:t>
            </a:r>
          </a:p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t.no. 590005221-001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6C5D943-FEC8-4DF5-BAB0-AC04792AE136}"/>
              </a:ext>
            </a:extLst>
          </p:cNvPr>
          <p:cNvCxnSpPr>
            <a:cxnSpLocks/>
            <a:stCxn id="29" idx="1"/>
            <a:endCxn id="30" idx="1"/>
          </p:cNvCxnSpPr>
          <p:nvPr/>
        </p:nvCxnSpPr>
        <p:spPr>
          <a:xfrm>
            <a:off x="4373795" y="3719493"/>
            <a:ext cx="615346" cy="923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FE40C1D0-44F9-4852-9689-83FCFC48A253}"/>
              </a:ext>
            </a:extLst>
          </p:cNvPr>
          <p:cNvCxnSpPr>
            <a:cxnSpLocks/>
            <a:stCxn id="31" idx="2"/>
            <a:endCxn id="30" idx="0"/>
          </p:cNvCxnSpPr>
          <p:nvPr/>
        </p:nvCxnSpPr>
        <p:spPr>
          <a:xfrm flipH="1">
            <a:off x="5406850" y="3439380"/>
            <a:ext cx="184457" cy="28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0375EA28-A7F7-4B2A-A165-5473824C6EA0}"/>
              </a:ext>
            </a:extLst>
          </p:cNvPr>
          <p:cNvCxnSpPr>
            <a:cxnSpLocks/>
            <a:endCxn id="31" idx="2"/>
          </p:cNvCxnSpPr>
          <p:nvPr/>
        </p:nvCxnSpPr>
        <p:spPr>
          <a:xfrm>
            <a:off x="4181302" y="3418338"/>
            <a:ext cx="1410005" cy="21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D70E4319-EDCC-459B-AAF2-9A2240F25B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2036" y="2099021"/>
            <a:ext cx="3105134" cy="204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010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948021-F419-4854-8CB2-5057D6689CC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03.11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A75C17F-1E51-4187-BB9F-7CDEF818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771B16-E719-4E0E-B01D-8B11C53DB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92644E2-C514-4908-9365-F83122BE9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BR214 </a:t>
            </a:r>
            <a:r>
              <a:rPr lang="de-DE" u="none" dirty="0"/>
              <a:t>106237118-004 </a:t>
            </a:r>
            <a:r>
              <a:rPr lang="pl-PL" dirty="0"/>
              <a:t>UL_W5600K_Kalt_schwarz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9475D1C-1D19-4AC7-B846-F3C5FAE552E4}"/>
              </a:ext>
            </a:extLst>
          </p:cNvPr>
          <p:cNvSpPr txBox="1"/>
          <p:nvPr/>
        </p:nvSpPr>
        <p:spPr>
          <a:xfrm>
            <a:off x="324001" y="1063513"/>
            <a:ext cx="2103140" cy="15081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LED 590005220-001</a:t>
            </a:r>
          </a:p>
          <a:p>
            <a:pPr algn="l">
              <a:spcBef>
                <a:spcPts val="0"/>
              </a:spcBef>
            </a:pPr>
            <a:r>
              <a:rPr lang="de-DE" sz="1400" u="sng" dirty="0"/>
              <a:t>LED 590005221-001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Supplier AVNET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T0 = 590000554-001  82R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Batch 99999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S5 = 590000553-001  75R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Batch 88888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ABD4A3B-AEE5-457D-B17B-EBEEDE1BB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3656" y="1085282"/>
            <a:ext cx="3507211" cy="1609590"/>
          </a:xfrm>
          <a:prstGeom prst="rect">
            <a:avLst/>
          </a:prstGeom>
        </p:spPr>
      </p:pic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30170AC7-97DC-4841-87B5-386F26F4DCBC}"/>
              </a:ext>
            </a:extLst>
          </p:cNvPr>
          <p:cNvSpPr/>
          <p:nvPr/>
        </p:nvSpPr>
        <p:spPr>
          <a:xfrm>
            <a:off x="6366301" y="2272414"/>
            <a:ext cx="1679713" cy="4474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A8357E0-CCF4-4912-BCB9-CAA05993A1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9110" y="1063513"/>
            <a:ext cx="3368477" cy="2216103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3168011-60A6-4A00-851E-1FE4ACA413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220" y="4593618"/>
            <a:ext cx="4641779" cy="1401112"/>
          </a:xfrm>
          <a:prstGeom prst="rect">
            <a:avLst/>
          </a:prstGeom>
        </p:spPr>
      </p:pic>
      <p:sp>
        <p:nvSpPr>
          <p:cNvPr id="20" name="Pfeil: nach unten 19">
            <a:extLst>
              <a:ext uri="{FF2B5EF4-FFF2-40B4-BE49-F238E27FC236}">
                <a16:creationId xmlns:a16="http://schemas.microsoft.com/office/drawing/2014/main" id="{2BBAE4C7-0F56-4B40-897D-BC51B79691FE}"/>
              </a:ext>
            </a:extLst>
          </p:cNvPr>
          <p:cNvSpPr/>
          <p:nvPr/>
        </p:nvSpPr>
        <p:spPr>
          <a:xfrm>
            <a:off x="3675687" y="3439717"/>
            <a:ext cx="1272209" cy="51683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33E39EE-400B-4DCE-BF3E-4B0288BB5FA1}"/>
              </a:ext>
            </a:extLst>
          </p:cNvPr>
          <p:cNvSpPr txBox="1"/>
          <p:nvPr/>
        </p:nvSpPr>
        <p:spPr>
          <a:xfrm>
            <a:off x="408220" y="4227547"/>
            <a:ext cx="18931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Stock </a:t>
            </a:r>
            <a:r>
              <a:rPr lang="de-DE" sz="1400" u="sng" dirty="0" err="1"/>
              <a:t>Overview</a:t>
            </a:r>
            <a:r>
              <a:rPr lang="de-DE" sz="1400" u="sng" dirty="0"/>
              <a:t>: MMSC</a:t>
            </a:r>
            <a:endParaRPr lang="de-DE" sz="1400" dirty="0"/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5E6F3997-B5B7-457E-B8FA-B627E4A242F4}"/>
              </a:ext>
            </a:extLst>
          </p:cNvPr>
          <p:cNvSpPr/>
          <p:nvPr/>
        </p:nvSpPr>
        <p:spPr>
          <a:xfrm>
            <a:off x="5186922" y="5188569"/>
            <a:ext cx="1679713" cy="4474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FC27F34-D54E-4FBF-8F68-110922CA4317}"/>
              </a:ext>
            </a:extLst>
          </p:cNvPr>
          <p:cNvSpPr txBox="1"/>
          <p:nvPr/>
        </p:nvSpPr>
        <p:spPr>
          <a:xfrm>
            <a:off x="7003558" y="5294174"/>
            <a:ext cx="206306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Batch: MSC2N / MSC03N</a:t>
            </a:r>
          </a:p>
          <a:p>
            <a:pPr algn="l">
              <a:spcBef>
                <a:spcPts val="0"/>
              </a:spcBef>
            </a:pPr>
            <a:r>
              <a:rPr lang="de-DE" sz="1400" u="sng" dirty="0"/>
              <a:t>e.g. Classification</a:t>
            </a:r>
            <a:endParaRPr lang="de-DE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F19D57B-D06E-4FAC-B08D-CFE24124B0E4}"/>
              </a:ext>
            </a:extLst>
          </p:cNvPr>
          <p:cNvSpPr/>
          <p:nvPr/>
        </p:nvSpPr>
        <p:spPr>
          <a:xfrm>
            <a:off x="5569739" y="4856793"/>
            <a:ext cx="851515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raft</a:t>
            </a:r>
            <a:endParaRPr lang="de-DE" sz="2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026" name="Bild 7">
            <a:extLst>
              <a:ext uri="{FF2B5EF4-FFF2-40B4-BE49-F238E27FC236}">
                <a16:creationId xmlns:a16="http://schemas.microsoft.com/office/drawing/2014/main" id="{7AD7B2B3-50DD-47B7-B3CE-5A4C385538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3546" y="3120852"/>
            <a:ext cx="2902948" cy="316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7831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948021-F419-4854-8CB2-5057D6689CC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03.11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A75C17F-1E51-4187-BB9F-7CDEF818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771B16-E719-4E0E-B01D-8B11C53DB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92644E2-C514-4908-9365-F83122BE9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BR214 </a:t>
            </a:r>
            <a:r>
              <a:rPr lang="de-DE" sz="2800" dirty="0"/>
              <a:t>106237114-00# </a:t>
            </a:r>
            <a:r>
              <a:rPr lang="de-DE" u="none" dirty="0"/>
              <a:t>EKE White-Steckerkorb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9475D1C-1D19-4AC7-B846-F3C5FAE552E4}"/>
              </a:ext>
            </a:extLst>
          </p:cNvPr>
          <p:cNvSpPr txBox="1"/>
          <p:nvPr/>
        </p:nvSpPr>
        <p:spPr>
          <a:xfrm>
            <a:off x="324001" y="1063513"/>
            <a:ext cx="2609689" cy="10772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LED 590005136-001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Supplier </a:t>
            </a:r>
            <a:r>
              <a:rPr lang="de-DE" sz="1400" dirty="0" err="1"/>
              <a:t>Nichia</a:t>
            </a:r>
            <a:endParaRPr lang="de-DE" sz="1400" dirty="0"/>
          </a:p>
          <a:p>
            <a:pPr algn="l">
              <a:spcBef>
                <a:spcPts val="0"/>
              </a:spcBef>
            </a:pPr>
            <a:r>
              <a:rPr lang="de-DE" sz="1400" dirty="0"/>
              <a:t>Cd2400 = 590003501-001  680R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Cd2880 = 590005356-001  750R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Cd3440 = 590005357-001  910R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30170AC7-97DC-4841-87B5-386F26F4DCBC}"/>
              </a:ext>
            </a:extLst>
          </p:cNvPr>
          <p:cNvSpPr/>
          <p:nvPr/>
        </p:nvSpPr>
        <p:spPr>
          <a:xfrm>
            <a:off x="6366301" y="2272414"/>
            <a:ext cx="1679713" cy="4474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3168011-60A6-4A00-851E-1FE4ACA413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20" y="4593618"/>
            <a:ext cx="4641779" cy="1401112"/>
          </a:xfrm>
          <a:prstGeom prst="rect">
            <a:avLst/>
          </a:prstGeom>
        </p:spPr>
      </p:pic>
      <p:sp>
        <p:nvSpPr>
          <p:cNvPr id="20" name="Pfeil: nach unten 19">
            <a:extLst>
              <a:ext uri="{FF2B5EF4-FFF2-40B4-BE49-F238E27FC236}">
                <a16:creationId xmlns:a16="http://schemas.microsoft.com/office/drawing/2014/main" id="{2BBAE4C7-0F56-4B40-897D-BC51B79691FE}"/>
              </a:ext>
            </a:extLst>
          </p:cNvPr>
          <p:cNvSpPr/>
          <p:nvPr/>
        </p:nvSpPr>
        <p:spPr>
          <a:xfrm>
            <a:off x="3675687" y="3439717"/>
            <a:ext cx="1272209" cy="51683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33E39EE-400B-4DCE-BF3E-4B0288BB5FA1}"/>
              </a:ext>
            </a:extLst>
          </p:cNvPr>
          <p:cNvSpPr txBox="1"/>
          <p:nvPr/>
        </p:nvSpPr>
        <p:spPr>
          <a:xfrm>
            <a:off x="408220" y="4227547"/>
            <a:ext cx="18931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Stock </a:t>
            </a:r>
            <a:r>
              <a:rPr lang="de-DE" sz="1400" u="sng" dirty="0" err="1"/>
              <a:t>Overview</a:t>
            </a:r>
            <a:r>
              <a:rPr lang="de-DE" sz="1400" u="sng" dirty="0"/>
              <a:t>: MMSC</a:t>
            </a:r>
            <a:endParaRPr lang="de-DE" sz="1400" dirty="0"/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5E6F3997-B5B7-457E-B8FA-B627E4A242F4}"/>
              </a:ext>
            </a:extLst>
          </p:cNvPr>
          <p:cNvSpPr/>
          <p:nvPr/>
        </p:nvSpPr>
        <p:spPr>
          <a:xfrm>
            <a:off x="5186922" y="5188569"/>
            <a:ext cx="1679713" cy="4474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FC27F34-D54E-4FBF-8F68-110922CA4317}"/>
              </a:ext>
            </a:extLst>
          </p:cNvPr>
          <p:cNvSpPr txBox="1"/>
          <p:nvPr/>
        </p:nvSpPr>
        <p:spPr>
          <a:xfrm>
            <a:off x="7003558" y="5294174"/>
            <a:ext cx="206306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Batch: MSC2N / MSC03N</a:t>
            </a:r>
          </a:p>
          <a:p>
            <a:pPr algn="l">
              <a:spcBef>
                <a:spcPts val="0"/>
              </a:spcBef>
            </a:pPr>
            <a:r>
              <a:rPr lang="de-DE" sz="1400" u="sng" dirty="0"/>
              <a:t>e.g. Classification</a:t>
            </a:r>
            <a:endParaRPr lang="de-DE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F19D57B-D06E-4FAC-B08D-CFE24124B0E4}"/>
              </a:ext>
            </a:extLst>
          </p:cNvPr>
          <p:cNvSpPr/>
          <p:nvPr/>
        </p:nvSpPr>
        <p:spPr>
          <a:xfrm>
            <a:off x="5569739" y="4856793"/>
            <a:ext cx="851515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raft</a:t>
            </a:r>
            <a:endParaRPr lang="de-DE" sz="2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026" name="Bild 7">
            <a:extLst>
              <a:ext uri="{FF2B5EF4-FFF2-40B4-BE49-F238E27FC236}">
                <a16:creationId xmlns:a16="http://schemas.microsoft.com/office/drawing/2014/main" id="{7AD7B2B3-50DD-47B7-B3CE-5A4C385538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3546" y="3120852"/>
            <a:ext cx="2902948" cy="316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7258412-CBB9-40B9-9028-9E3CED8671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0622" y="2162112"/>
            <a:ext cx="2992059" cy="56220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36ADA7D-0C9C-407D-B98E-B037C558CB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2734" y="1201608"/>
            <a:ext cx="1593223" cy="212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916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4285692-E0B1-4B96-9530-0F859B9401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03.11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06D3D01-8854-44D9-A6B8-CDB5C04F96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8599F8-AB56-4293-B88E-5F7D3F33E3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CD42503-C514-4E2C-A5A1-75221ABC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MFA2 White 190055733-012/-024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EA26FD-06D9-498B-B6A8-2429C075C6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703" y="3097601"/>
            <a:ext cx="7852602" cy="315893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8875237-78EF-48CB-B3E4-938735EC32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000" y="1149700"/>
            <a:ext cx="4247648" cy="171092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BBB799F-F1D1-461F-B94B-F42316B4F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6151" y="1238138"/>
            <a:ext cx="3055233" cy="4906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32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21FD41-06C9-443F-B300-4B3C159F31F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D02C5CC-F4AB-4AB7-A0D8-5878A6ADC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72D7E8-D117-4C7F-B64F-24EFE88DAC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D861A90-DD4A-4660-9E56-00728F5B9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284" y="465661"/>
            <a:ext cx="1415385" cy="569426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9058671-936B-4592-BE01-0D35D4E0F108}"/>
              </a:ext>
            </a:extLst>
          </p:cNvPr>
          <p:cNvSpPr txBox="1"/>
          <p:nvPr/>
        </p:nvSpPr>
        <p:spPr>
          <a:xfrm>
            <a:off x="1232263" y="5258216"/>
            <a:ext cx="186910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HOST  Plant 12</a:t>
            </a:r>
          </a:p>
          <a:p>
            <a:pPr algn="l">
              <a:spcBef>
                <a:spcPts val="0"/>
              </a:spcBef>
            </a:pPr>
            <a:r>
              <a:rPr lang="de-DE" dirty="0"/>
              <a:t>ELDRA VIB</a:t>
            </a:r>
          </a:p>
          <a:p>
            <a:pPr algn="l">
              <a:spcBef>
                <a:spcPts val="0"/>
              </a:spcBef>
            </a:pPr>
            <a:r>
              <a:rPr lang="de-DE" dirty="0"/>
              <a:t>Supplier 50L408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C48A8A0-07FB-42D2-B048-595B9D8B0F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3207" y="596073"/>
            <a:ext cx="1065065" cy="56737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3CD31A43-9673-4BC5-9D64-9F287B5BA2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20194" y="992263"/>
            <a:ext cx="1196697" cy="3445268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5096940-A494-4D14-9E83-D5E20EA60AEB}"/>
              </a:ext>
            </a:extLst>
          </p:cNvPr>
          <p:cNvSpPr txBox="1"/>
          <p:nvPr/>
        </p:nvSpPr>
        <p:spPr>
          <a:xfrm>
            <a:off x="1354090" y="4581443"/>
            <a:ext cx="1625445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DBMG900102</a:t>
            </a:r>
          </a:p>
          <a:p>
            <a:pPr algn="l">
              <a:spcBef>
                <a:spcPts val="0"/>
              </a:spcBef>
            </a:pPr>
            <a:r>
              <a:rPr lang="de-DE" dirty="0"/>
              <a:t>DBMG900103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E853CAD-BF11-49F7-BC13-8277914F972F}"/>
              </a:ext>
            </a:extLst>
          </p:cNvPr>
          <p:cNvSpPr txBox="1"/>
          <p:nvPr/>
        </p:nvSpPr>
        <p:spPr>
          <a:xfrm>
            <a:off x="4601809" y="5473641"/>
            <a:ext cx="186910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HOST  Plant 12</a:t>
            </a:r>
          </a:p>
          <a:p>
            <a:pPr algn="l">
              <a:spcBef>
                <a:spcPts val="0"/>
              </a:spcBef>
            </a:pPr>
            <a:r>
              <a:rPr lang="de-DE" dirty="0"/>
              <a:t>ELDRA VIB</a:t>
            </a:r>
          </a:p>
          <a:p>
            <a:pPr algn="l">
              <a:spcBef>
                <a:spcPts val="0"/>
              </a:spcBef>
            </a:pPr>
            <a:r>
              <a:rPr lang="de-DE" dirty="0"/>
              <a:t>Supplier 50L408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D07B868-48D0-45D6-8399-A7E6ECCBA6BB}"/>
              </a:ext>
            </a:extLst>
          </p:cNvPr>
          <p:cNvSpPr txBox="1"/>
          <p:nvPr/>
        </p:nvSpPr>
        <p:spPr>
          <a:xfrm>
            <a:off x="6266929" y="5727512"/>
            <a:ext cx="186910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BMG902103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290B1D4-C974-4541-8EC4-E093EE926CA1}"/>
              </a:ext>
            </a:extLst>
          </p:cNvPr>
          <p:cNvSpPr txBox="1"/>
          <p:nvPr/>
        </p:nvSpPr>
        <p:spPr>
          <a:xfrm>
            <a:off x="4562087" y="1750888"/>
            <a:ext cx="209672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SAP 1077</a:t>
            </a:r>
          </a:p>
          <a:p>
            <a:pPr algn="l">
              <a:spcBef>
                <a:spcPts val="0"/>
              </a:spcBef>
            </a:pPr>
            <a:r>
              <a:rPr lang="de-DE" dirty="0"/>
              <a:t>DPL</a:t>
            </a:r>
          </a:p>
          <a:p>
            <a:pPr algn="l">
              <a:spcBef>
                <a:spcPts val="0"/>
              </a:spcBef>
            </a:pPr>
            <a:r>
              <a:rPr lang="de-DE" dirty="0"/>
              <a:t>Anlagen</a:t>
            </a:r>
          </a:p>
          <a:p>
            <a:pPr algn="l">
              <a:spcBef>
                <a:spcPts val="0"/>
              </a:spcBef>
            </a:pPr>
            <a:r>
              <a:rPr lang="de-DE" dirty="0"/>
              <a:t>Lohnbereitstellung</a:t>
            </a:r>
          </a:p>
          <a:p>
            <a:pPr algn="l">
              <a:spcBef>
                <a:spcPts val="0"/>
              </a:spcBef>
            </a:pPr>
            <a:r>
              <a:rPr lang="de-DE" dirty="0"/>
              <a:t>Nico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67B725B5-5002-4658-8F66-083B12DD4C3D}"/>
              </a:ext>
            </a:extLst>
          </p:cNvPr>
          <p:cNvSpPr txBox="1"/>
          <p:nvPr/>
        </p:nvSpPr>
        <p:spPr>
          <a:xfrm>
            <a:off x="10920780" y="5265847"/>
            <a:ext cx="115114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SAP 1077</a:t>
            </a:r>
          </a:p>
          <a:p>
            <a:pPr algn="l">
              <a:spcBef>
                <a:spcPts val="0"/>
              </a:spcBef>
            </a:pPr>
            <a:r>
              <a:rPr lang="de-DE" dirty="0"/>
              <a:t>DPL</a:t>
            </a:r>
          </a:p>
          <a:p>
            <a:pPr algn="l">
              <a:spcBef>
                <a:spcPts val="0"/>
              </a:spcBef>
            </a:pPr>
            <a:r>
              <a:rPr lang="de-DE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16140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1019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850D47-68C5-4FB7-AF9E-B73EA64A9D3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19.04.2021    Introduction SAP | Becker Werner OL14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4F462B-9D03-417D-A871-ED38F5EEE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B692F23-D6A3-4123-B629-6B34A2DE3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1F4089-DECB-4822-B98E-46A273535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045" y="76491"/>
            <a:ext cx="1227133" cy="618312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5ACDADD-34E9-4A16-BEC2-7254BBF4B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8127" y="3279303"/>
            <a:ext cx="1120474" cy="298030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B6EACEF-5B85-4828-9C99-326CBF3F5208}"/>
              </a:ext>
            </a:extLst>
          </p:cNvPr>
          <p:cNvSpPr txBox="1"/>
          <p:nvPr/>
        </p:nvSpPr>
        <p:spPr>
          <a:xfrm>
            <a:off x="2153797" y="1338688"/>
            <a:ext cx="118301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SAP 1077</a:t>
            </a:r>
          </a:p>
          <a:p>
            <a:pPr algn="l">
              <a:spcBef>
                <a:spcPts val="0"/>
              </a:spcBef>
            </a:pPr>
            <a:r>
              <a:rPr lang="de-DE" dirty="0"/>
              <a:t>ELFE Par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25DD5BF-EEAE-49A1-A051-8F8D3D77B77F}"/>
              </a:ext>
            </a:extLst>
          </p:cNvPr>
          <p:cNvSpPr txBox="1"/>
          <p:nvPr/>
        </p:nvSpPr>
        <p:spPr>
          <a:xfrm>
            <a:off x="2153797" y="2602766"/>
            <a:ext cx="110786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HOST C4</a:t>
            </a:r>
          </a:p>
          <a:p>
            <a:pPr algn="l">
              <a:spcBef>
                <a:spcPts val="0"/>
              </a:spcBef>
            </a:pPr>
            <a:r>
              <a:rPr lang="de-DE" dirty="0"/>
              <a:t>AMB </a:t>
            </a:r>
            <a:r>
              <a:rPr lang="de-DE" dirty="0" err="1"/>
              <a:t>part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1BE15E0-34D3-4EFE-A29E-6BCEAA57516F}"/>
              </a:ext>
            </a:extLst>
          </p:cNvPr>
          <p:cNvSpPr txBox="1"/>
          <p:nvPr/>
        </p:nvSpPr>
        <p:spPr>
          <a:xfrm>
            <a:off x="3173550" y="4184395"/>
            <a:ext cx="110786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HOST D6</a:t>
            </a:r>
          </a:p>
          <a:p>
            <a:pPr algn="l">
              <a:spcBef>
                <a:spcPts val="0"/>
              </a:spcBef>
            </a:pPr>
            <a:r>
              <a:rPr lang="de-DE" dirty="0"/>
              <a:t>E/E </a:t>
            </a:r>
            <a:r>
              <a:rPr lang="de-DE" dirty="0" err="1"/>
              <a:t>part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EBE6F66-D764-46D1-B63A-71FCD55E10F1}"/>
              </a:ext>
            </a:extLst>
          </p:cNvPr>
          <p:cNvSpPr txBox="1"/>
          <p:nvPr/>
        </p:nvSpPr>
        <p:spPr>
          <a:xfrm>
            <a:off x="3078601" y="5797947"/>
            <a:ext cx="186910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HOST  Plant 12</a:t>
            </a:r>
          </a:p>
          <a:p>
            <a:pPr algn="l">
              <a:spcBef>
                <a:spcPts val="0"/>
              </a:spcBef>
            </a:pPr>
            <a:r>
              <a:rPr lang="de-DE" dirty="0"/>
              <a:t>ELDRA VIB</a:t>
            </a:r>
          </a:p>
          <a:p>
            <a:pPr algn="l">
              <a:spcBef>
                <a:spcPts val="0"/>
              </a:spcBef>
            </a:pPr>
            <a:r>
              <a:rPr lang="de-DE" dirty="0"/>
              <a:t>Supplier 50L408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88FF554-2397-423E-A863-BA4C44301FED}"/>
              </a:ext>
            </a:extLst>
          </p:cNvPr>
          <p:cNvSpPr txBox="1"/>
          <p:nvPr/>
        </p:nvSpPr>
        <p:spPr>
          <a:xfrm>
            <a:off x="3078601" y="5113340"/>
            <a:ext cx="1096454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Manual</a:t>
            </a:r>
          </a:p>
          <a:p>
            <a:pPr algn="l">
              <a:spcBef>
                <a:spcPts val="0"/>
              </a:spcBef>
            </a:pPr>
            <a:r>
              <a:rPr lang="de-DE" dirty="0"/>
              <a:t>Prototyp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1306C37-127A-4C06-B816-4B9755F01032}"/>
              </a:ext>
            </a:extLst>
          </p:cNvPr>
          <p:cNvSpPr txBox="1"/>
          <p:nvPr/>
        </p:nvSpPr>
        <p:spPr>
          <a:xfrm>
            <a:off x="4426343" y="4837282"/>
            <a:ext cx="71493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i="1" dirty="0"/>
              <a:t>Nicole</a:t>
            </a:r>
          </a:p>
        </p:txBody>
      </p:sp>
    </p:spTree>
    <p:extLst>
      <p:ext uri="{BB962C8B-B14F-4D97-AF65-F5344CB8AC3E}">
        <p14:creationId xmlns:p14="http://schemas.microsoft.com/office/powerpoint/2010/main" val="79562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F5F721E-B762-047A-E56C-4117C7DB8E76}"/>
              </a:ext>
            </a:extLst>
          </p:cNvPr>
          <p:cNvGrpSpPr/>
          <p:nvPr/>
        </p:nvGrpSpPr>
        <p:grpSpPr>
          <a:xfrm>
            <a:off x="832756" y="1113908"/>
            <a:ext cx="10780506" cy="320593"/>
            <a:chOff x="1294768" y="1171893"/>
            <a:chExt cx="10780506" cy="320593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7D75578-0607-4C51-8BB2-A84597762E02}"/>
                </a:ext>
              </a:extLst>
            </p:cNvPr>
            <p:cNvSpPr txBox="1"/>
            <p:nvPr/>
          </p:nvSpPr>
          <p:spPr>
            <a:xfrm>
              <a:off x="1294768" y="1181928"/>
              <a:ext cx="2160000" cy="307777"/>
            </a:xfrm>
            <a:prstGeom prst="rect">
              <a:avLst/>
            </a:prstGeom>
            <a:solidFill>
              <a:srgbClr val="0097AC"/>
            </a:solidFill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>
                <a:spcBef>
                  <a:spcPts val="0"/>
                </a:spcBef>
                <a:defRPr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de-DE"/>
                <a:t> May</a:t>
              </a:r>
              <a:endParaRPr lang="de-DE" dirty="0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EAC95EF-3A7C-4B68-9BF3-EEFB0803F590}"/>
                </a:ext>
              </a:extLst>
            </p:cNvPr>
            <p:cNvSpPr txBox="1"/>
            <p:nvPr/>
          </p:nvSpPr>
          <p:spPr>
            <a:xfrm>
              <a:off x="3461266" y="1184709"/>
              <a:ext cx="2160000" cy="307777"/>
            </a:xfrm>
            <a:prstGeom prst="rect">
              <a:avLst/>
            </a:prstGeom>
            <a:solidFill>
              <a:srgbClr val="0097AC"/>
            </a:solidFill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>
                <a:spcBef>
                  <a:spcPts val="0"/>
                </a:spcBef>
                <a:defRPr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de-DE"/>
                <a:t> June</a:t>
              </a:r>
              <a:endParaRPr lang="de-DE" dirty="0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85715644-0563-44ED-AF3C-5B61D1AAD9F7}"/>
                </a:ext>
              </a:extLst>
            </p:cNvPr>
            <p:cNvSpPr txBox="1"/>
            <p:nvPr/>
          </p:nvSpPr>
          <p:spPr>
            <a:xfrm>
              <a:off x="5608270" y="1181928"/>
              <a:ext cx="2160000" cy="307777"/>
            </a:xfrm>
            <a:prstGeom prst="rect">
              <a:avLst/>
            </a:prstGeom>
            <a:solidFill>
              <a:srgbClr val="0097AC"/>
            </a:solidFill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>
                <a:spcBef>
                  <a:spcPts val="0"/>
                </a:spcBef>
                <a:defRPr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de-DE"/>
                <a:t> July</a:t>
              </a:r>
              <a:endParaRPr lang="de-DE" dirty="0"/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DD0FD289-7F0E-4B57-8CE3-290DFE242EA8}"/>
                </a:ext>
              </a:extLst>
            </p:cNvPr>
            <p:cNvSpPr txBox="1"/>
            <p:nvPr/>
          </p:nvSpPr>
          <p:spPr>
            <a:xfrm>
              <a:off x="7748776" y="1184709"/>
              <a:ext cx="2160000" cy="307777"/>
            </a:xfrm>
            <a:prstGeom prst="rect">
              <a:avLst/>
            </a:prstGeom>
            <a:solidFill>
              <a:srgbClr val="0097AC"/>
            </a:solidFill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>
                <a:spcBef>
                  <a:spcPts val="0"/>
                </a:spcBef>
                <a:defRPr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de-DE"/>
                <a:t> August</a:t>
              </a:r>
              <a:endParaRPr lang="de-DE" dirty="0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07759967-67BC-4AFC-859D-68A89CFD1265}"/>
                </a:ext>
              </a:extLst>
            </p:cNvPr>
            <p:cNvSpPr txBox="1"/>
            <p:nvPr/>
          </p:nvSpPr>
          <p:spPr>
            <a:xfrm>
              <a:off x="9915274" y="1171893"/>
              <a:ext cx="2160000" cy="307777"/>
            </a:xfrm>
            <a:prstGeom prst="rect">
              <a:avLst/>
            </a:prstGeom>
            <a:solidFill>
              <a:srgbClr val="0097AC"/>
            </a:solidFill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>
                <a:spcBef>
                  <a:spcPts val="0"/>
                </a:spcBef>
                <a:defRPr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de-DE"/>
                <a:t> September</a:t>
              </a:r>
              <a:endParaRPr lang="de-DE" dirty="0"/>
            </a:p>
          </p:txBody>
        </p:sp>
      </p:grpSp>
      <p:sp>
        <p:nvSpPr>
          <p:cNvPr id="23" name="Raute 22">
            <a:extLst>
              <a:ext uri="{FF2B5EF4-FFF2-40B4-BE49-F238E27FC236}">
                <a16:creationId xmlns:a16="http://schemas.microsoft.com/office/drawing/2014/main" id="{1C9B4A64-325F-4627-8967-A4B54C929A65}"/>
              </a:ext>
            </a:extLst>
          </p:cNvPr>
          <p:cNvSpPr/>
          <p:nvPr/>
        </p:nvSpPr>
        <p:spPr>
          <a:xfrm>
            <a:off x="808172" y="1469167"/>
            <a:ext cx="288842" cy="267806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3BBA9B6-7FDA-48C9-8ADE-9CDBE189E543}"/>
              </a:ext>
            </a:extLst>
          </p:cNvPr>
          <p:cNvSpPr txBox="1"/>
          <p:nvPr/>
        </p:nvSpPr>
        <p:spPr>
          <a:xfrm>
            <a:off x="1232762" y="1510737"/>
            <a:ext cx="248029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/>
              <a:t>Info about complex</a:t>
            </a:r>
          </a:p>
          <a:p>
            <a:pPr algn="l">
              <a:spcBef>
                <a:spcPts val="0"/>
              </a:spcBef>
            </a:pPr>
            <a:r>
              <a:rPr lang="de-DE" sz="1200"/>
              <a:t>supply chain (no call-off Elmos/SYE)</a:t>
            </a:r>
            <a:endParaRPr lang="de-DE" sz="1200" dirty="0"/>
          </a:p>
        </p:txBody>
      </p:sp>
      <p:sp>
        <p:nvSpPr>
          <p:cNvPr id="10" name="Titel 4">
            <a:extLst>
              <a:ext uri="{FF2B5EF4-FFF2-40B4-BE49-F238E27FC236}">
                <a16:creationId xmlns:a16="http://schemas.microsoft.com/office/drawing/2014/main" id="{5D2ACAD7-49C4-F652-EFF1-0740A6A36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8"/>
            <a:ext cx="9697138" cy="526810"/>
          </a:xfrm>
        </p:spPr>
        <p:txBody>
          <a:bodyPr/>
          <a:lstStyle/>
          <a:p>
            <a:r>
              <a:rPr lang="de-DE" err="1"/>
              <a:t>Highlevel</a:t>
            </a:r>
            <a:r>
              <a:rPr lang="de-DE"/>
              <a:t> timeline 214 AMB Melexis/ Elmos 26.05.2023</a:t>
            </a:r>
            <a:endParaRPr lang="de-DE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C89E8C6-E5ED-4A89-9E46-5F83D0C30E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759" y="2033422"/>
            <a:ext cx="712623" cy="370564"/>
          </a:xfrm>
          <a:prstGeom prst="rect">
            <a:avLst/>
          </a:prstGeom>
        </p:spPr>
      </p:pic>
      <p:sp>
        <p:nvSpPr>
          <p:cNvPr id="27" name="Raute 26">
            <a:extLst>
              <a:ext uri="{FF2B5EF4-FFF2-40B4-BE49-F238E27FC236}">
                <a16:creationId xmlns:a16="http://schemas.microsoft.com/office/drawing/2014/main" id="{99433252-0277-989A-744F-3AE8C11C875B}"/>
              </a:ext>
            </a:extLst>
          </p:cNvPr>
          <p:cNvSpPr/>
          <p:nvPr/>
        </p:nvSpPr>
        <p:spPr>
          <a:xfrm>
            <a:off x="1104993" y="2089597"/>
            <a:ext cx="288842" cy="267806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09CFAB7-CA13-4107-27B2-7CDF4F5E2158}"/>
              </a:ext>
            </a:extLst>
          </p:cNvPr>
          <p:cNvSpPr txBox="1"/>
          <p:nvPr/>
        </p:nvSpPr>
        <p:spPr>
          <a:xfrm>
            <a:off x="2124306" y="2036961"/>
            <a:ext cx="182787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/>
              <a:t>Manual settings</a:t>
            </a:r>
          </a:p>
          <a:p>
            <a:pPr algn="l">
              <a:spcBef>
                <a:spcPts val="0"/>
              </a:spcBef>
            </a:pPr>
            <a:r>
              <a:rPr lang="de-DE" sz="1200"/>
              <a:t>„dummy mat.no.“ SOP 9.5.</a:t>
            </a:r>
            <a:endParaRPr lang="de-DE" sz="1200" dirty="0"/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849AC8F-4A5F-AB1B-74A3-EC5AB86DE9DE}"/>
              </a:ext>
            </a:extLst>
          </p:cNvPr>
          <p:cNvGrpSpPr/>
          <p:nvPr/>
        </p:nvGrpSpPr>
        <p:grpSpPr>
          <a:xfrm>
            <a:off x="1759070" y="2560960"/>
            <a:ext cx="2598720" cy="372871"/>
            <a:chOff x="1104993" y="2033422"/>
            <a:chExt cx="2598720" cy="372871"/>
          </a:xfrm>
        </p:grpSpPr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0A41C52E-9291-0D56-C99C-0D7FB96586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759" y="2033422"/>
              <a:ext cx="712623" cy="370564"/>
            </a:xfrm>
            <a:prstGeom prst="rect">
              <a:avLst/>
            </a:prstGeom>
          </p:spPr>
        </p:pic>
        <p:sp>
          <p:nvSpPr>
            <p:cNvPr id="53" name="Raute 52">
              <a:extLst>
                <a:ext uri="{FF2B5EF4-FFF2-40B4-BE49-F238E27FC236}">
                  <a16:creationId xmlns:a16="http://schemas.microsoft.com/office/drawing/2014/main" id="{94E49D8E-BFC8-1010-A1F4-61E8CB6E84CB}"/>
                </a:ext>
              </a:extLst>
            </p:cNvPr>
            <p:cNvSpPr/>
            <p:nvPr/>
          </p:nvSpPr>
          <p:spPr>
            <a:xfrm>
              <a:off x="1104993" y="2089597"/>
              <a:ext cx="288842" cy="267806"/>
            </a:xfrm>
            <a:prstGeom prst="diamond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algn="l"/>
              <a:endParaRPr lang="de-DE" dirty="0" err="1"/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CABFCC63-D82B-A204-6273-ADC570C6BA02}"/>
                </a:ext>
              </a:extLst>
            </p:cNvPr>
            <p:cNvSpPr txBox="1"/>
            <p:nvPr/>
          </p:nvSpPr>
          <p:spPr>
            <a:xfrm>
              <a:off x="2124306" y="2036961"/>
              <a:ext cx="1579407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0"/>
                </a:spcBef>
              </a:pPr>
              <a:r>
                <a:rPr lang="de-DE" sz="1200"/>
                <a:t>Manual settings</a:t>
              </a:r>
            </a:p>
            <a:p>
              <a:pPr algn="l">
                <a:spcBef>
                  <a:spcPts val="0"/>
                </a:spcBef>
              </a:pPr>
              <a:r>
                <a:rPr lang="de-DE" sz="1200"/>
                <a:t>„real mat.no.“ SOP 9.5.</a:t>
              </a:r>
              <a:endParaRPr lang="de-DE" sz="12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4B6E4B0D-E358-D1FF-4D48-8F10160F1BE9}"/>
              </a:ext>
            </a:extLst>
          </p:cNvPr>
          <p:cNvGrpSpPr/>
          <p:nvPr/>
        </p:nvGrpSpPr>
        <p:grpSpPr>
          <a:xfrm>
            <a:off x="1923077" y="3180631"/>
            <a:ext cx="2598720" cy="372871"/>
            <a:chOff x="1104993" y="2033422"/>
            <a:chExt cx="2598720" cy="372871"/>
          </a:xfrm>
        </p:grpSpPr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05F7C85D-1858-7BE7-4AD8-F147ACBB1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759" y="2033422"/>
              <a:ext cx="712623" cy="370564"/>
            </a:xfrm>
            <a:prstGeom prst="rect">
              <a:avLst/>
            </a:prstGeom>
          </p:spPr>
        </p:pic>
        <p:sp>
          <p:nvSpPr>
            <p:cNvPr id="57" name="Raute 56">
              <a:extLst>
                <a:ext uri="{FF2B5EF4-FFF2-40B4-BE49-F238E27FC236}">
                  <a16:creationId xmlns:a16="http://schemas.microsoft.com/office/drawing/2014/main" id="{326023C2-7509-2B54-29C8-388D666DDC81}"/>
                </a:ext>
              </a:extLst>
            </p:cNvPr>
            <p:cNvSpPr/>
            <p:nvPr/>
          </p:nvSpPr>
          <p:spPr>
            <a:xfrm>
              <a:off x="1104993" y="2089597"/>
              <a:ext cx="288842" cy="267806"/>
            </a:xfrm>
            <a:prstGeom prst="diamond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algn="l"/>
              <a:endParaRPr lang="de-DE" dirty="0" err="1"/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A41A12E0-61BD-2B58-91A0-A96D20F1C331}"/>
                </a:ext>
              </a:extLst>
            </p:cNvPr>
            <p:cNvSpPr txBox="1"/>
            <p:nvPr/>
          </p:nvSpPr>
          <p:spPr>
            <a:xfrm>
              <a:off x="2124306" y="2036961"/>
              <a:ext cx="1579407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0"/>
                </a:spcBef>
              </a:pPr>
              <a:r>
                <a:rPr lang="de-DE" sz="1200"/>
                <a:t>Manual settings</a:t>
              </a:r>
            </a:p>
            <a:p>
              <a:pPr algn="l">
                <a:spcBef>
                  <a:spcPts val="0"/>
                </a:spcBef>
              </a:pPr>
              <a:r>
                <a:rPr lang="de-DE" sz="1200"/>
                <a:t>„real mat.no.“ SOP 1.7.</a:t>
              </a:r>
              <a:endParaRPr lang="de-DE" sz="1200" dirty="0"/>
            </a:p>
          </p:txBody>
        </p:sp>
      </p:grpSp>
      <p:sp>
        <p:nvSpPr>
          <p:cNvPr id="59" name="Pfeil: nach rechts 58">
            <a:extLst>
              <a:ext uri="{FF2B5EF4-FFF2-40B4-BE49-F238E27FC236}">
                <a16:creationId xmlns:a16="http://schemas.microsoft.com/office/drawing/2014/main" id="{145CC84D-576D-251E-0232-72F6DEFB6B41}"/>
              </a:ext>
            </a:extLst>
          </p:cNvPr>
          <p:cNvSpPr/>
          <p:nvPr/>
        </p:nvSpPr>
        <p:spPr>
          <a:xfrm>
            <a:off x="827324" y="4093637"/>
            <a:ext cx="4230132" cy="75218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590005910-001 Melexis + SYE Variants</a:t>
            </a:r>
            <a:endParaRPr lang="de-DE" sz="1600" dirty="0" err="1"/>
          </a:p>
        </p:txBody>
      </p:sp>
      <p:sp>
        <p:nvSpPr>
          <p:cNvPr id="60" name="Pfeil: nach rechts 59">
            <a:extLst>
              <a:ext uri="{FF2B5EF4-FFF2-40B4-BE49-F238E27FC236}">
                <a16:creationId xmlns:a16="http://schemas.microsoft.com/office/drawing/2014/main" id="{A7F53EC0-F655-F9C3-E847-5743AEF9A466}"/>
              </a:ext>
            </a:extLst>
          </p:cNvPr>
          <p:cNvSpPr/>
          <p:nvPr/>
        </p:nvSpPr>
        <p:spPr>
          <a:xfrm>
            <a:off x="5402737" y="3420349"/>
            <a:ext cx="4230132" cy="75218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590005910-001 Melexis + SYE Variants</a:t>
            </a:r>
            <a:endParaRPr lang="de-DE" sz="1600" dirty="0" err="1"/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A618A597-3C74-99C9-B3F3-C2A49F4BE865}"/>
              </a:ext>
            </a:extLst>
          </p:cNvPr>
          <p:cNvSpPr/>
          <p:nvPr/>
        </p:nvSpPr>
        <p:spPr>
          <a:xfrm>
            <a:off x="5402737" y="4583031"/>
            <a:ext cx="4230132" cy="752187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590006036-001 Elmos + SYE Variants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A1BF189F-1139-C677-FF82-36A23D6EE997}"/>
              </a:ext>
            </a:extLst>
          </p:cNvPr>
          <p:cNvSpPr txBox="1"/>
          <p:nvPr/>
        </p:nvSpPr>
        <p:spPr>
          <a:xfrm>
            <a:off x="4889776" y="3642555"/>
            <a:ext cx="5129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/>
              <a:t>50%</a:t>
            </a:r>
            <a:endParaRPr lang="de-DE" dirty="0" err="1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E13C2379-445E-0145-E192-6F381495A640}"/>
              </a:ext>
            </a:extLst>
          </p:cNvPr>
          <p:cNvSpPr txBox="1"/>
          <p:nvPr/>
        </p:nvSpPr>
        <p:spPr>
          <a:xfrm>
            <a:off x="4889775" y="4786525"/>
            <a:ext cx="5129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/>
              <a:t>50%</a:t>
            </a:r>
            <a:endParaRPr lang="de-DE" dirty="0" err="1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C26F26B9-BEB6-C775-557A-26F555DB3646}"/>
              </a:ext>
            </a:extLst>
          </p:cNvPr>
          <p:cNvSpPr txBox="1"/>
          <p:nvPr/>
        </p:nvSpPr>
        <p:spPr>
          <a:xfrm>
            <a:off x="2113602" y="4708267"/>
            <a:ext cx="148989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i="1"/>
              <a:t>TC BOM Alternative 1</a:t>
            </a:r>
            <a:endParaRPr lang="de-DE" sz="1200" i="1" dirty="0" err="1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C91FBE01-CADA-3F55-C99A-9D8A7F959C6A}"/>
              </a:ext>
            </a:extLst>
          </p:cNvPr>
          <p:cNvSpPr txBox="1"/>
          <p:nvPr/>
        </p:nvSpPr>
        <p:spPr>
          <a:xfrm>
            <a:off x="4531422" y="2731767"/>
            <a:ext cx="130615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i="1"/>
              <a:t>Manual BOM Alternative 2 incl. AltItemGroup</a:t>
            </a:r>
            <a:endParaRPr lang="de-DE" sz="1200" i="1" dirty="0" err="1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25979B8A-C3AF-CBA0-0BB5-F1CFA19D3407}"/>
              </a:ext>
            </a:extLst>
          </p:cNvPr>
          <p:cNvSpPr txBox="1"/>
          <p:nvPr/>
        </p:nvSpPr>
        <p:spPr>
          <a:xfrm>
            <a:off x="5927707" y="4016433"/>
            <a:ext cx="250049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i="1"/>
              <a:t>BOM Alternative 2 incl. AltItemGroup</a:t>
            </a:r>
          </a:p>
          <a:p>
            <a:pPr algn="ctr">
              <a:spcBef>
                <a:spcPts val="0"/>
              </a:spcBef>
            </a:pPr>
            <a:r>
              <a:rPr lang="de-DE" sz="1200" i="1"/>
              <a:t>(automated FAUF to be tested)</a:t>
            </a:r>
            <a:endParaRPr lang="de-DE" sz="1200" i="1" dirty="0" err="1"/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6F283AFD-A63A-6BD7-43F9-F04257F21034}"/>
              </a:ext>
            </a:extLst>
          </p:cNvPr>
          <p:cNvSpPr txBox="1"/>
          <p:nvPr/>
        </p:nvSpPr>
        <p:spPr>
          <a:xfrm>
            <a:off x="5961371" y="5202026"/>
            <a:ext cx="246682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i="1"/>
              <a:t>BOM Alternative 3 w/o AltItemGroup</a:t>
            </a:r>
          </a:p>
          <a:p>
            <a:pPr algn="ctr">
              <a:spcBef>
                <a:spcPts val="0"/>
              </a:spcBef>
            </a:pPr>
            <a:r>
              <a:rPr lang="de-DE" sz="1200" i="1"/>
              <a:t>(manual FAUF)</a:t>
            </a:r>
            <a:endParaRPr lang="de-DE" sz="1200" i="1" dirty="0" err="1"/>
          </a:p>
        </p:txBody>
      </p:sp>
      <p:pic>
        <p:nvPicPr>
          <p:cNvPr id="73" name="Grafik 72">
            <a:extLst>
              <a:ext uri="{FF2B5EF4-FFF2-40B4-BE49-F238E27FC236}">
                <a16:creationId xmlns:a16="http://schemas.microsoft.com/office/drawing/2014/main" id="{55E9448D-1341-2A0F-7FBF-CB5B6203A2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1618" y="5634715"/>
            <a:ext cx="9446765" cy="638995"/>
          </a:xfrm>
          <a:prstGeom prst="rect">
            <a:avLst/>
          </a:prstGeom>
        </p:spPr>
      </p:pic>
      <p:sp>
        <p:nvSpPr>
          <p:cNvPr id="74" name="Raute 73">
            <a:extLst>
              <a:ext uri="{FF2B5EF4-FFF2-40B4-BE49-F238E27FC236}">
                <a16:creationId xmlns:a16="http://schemas.microsoft.com/office/drawing/2014/main" id="{FA9365CD-5399-E08A-3E32-B71446CEAB24}"/>
              </a:ext>
            </a:extLst>
          </p:cNvPr>
          <p:cNvSpPr/>
          <p:nvPr/>
        </p:nvSpPr>
        <p:spPr>
          <a:xfrm>
            <a:off x="5001837" y="3332861"/>
            <a:ext cx="288842" cy="267806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4" name="Datumsplatzhalter 1">
            <a:extLst>
              <a:ext uri="{FF2B5EF4-FFF2-40B4-BE49-F238E27FC236}">
                <a16:creationId xmlns:a16="http://schemas.microsoft.com/office/drawing/2014/main" id="{06DB0F11-4E66-BF18-F296-37A62CF555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</p:spPr>
        <p:txBody>
          <a:bodyPr/>
          <a:lstStyle/>
          <a:p>
            <a:r>
              <a:rPr lang="en-US"/>
              <a:t>23.06.2023    214 AMB Melexis_Elmos </a:t>
            </a:r>
            <a:r>
              <a:rPr lang="en-US" dirty="0"/>
              <a:t>| Becker </a:t>
            </a:r>
            <a:r>
              <a:rPr lang="en-US"/>
              <a:t>Werner OG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2092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0" name="Titel 4">
            <a:extLst>
              <a:ext uri="{FF2B5EF4-FFF2-40B4-BE49-F238E27FC236}">
                <a16:creationId xmlns:a16="http://schemas.microsoft.com/office/drawing/2014/main" id="{5D2ACAD7-49C4-F652-EFF1-0740A6A36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8"/>
            <a:ext cx="9697138" cy="526810"/>
          </a:xfrm>
        </p:spPr>
        <p:txBody>
          <a:bodyPr/>
          <a:lstStyle/>
          <a:p>
            <a:r>
              <a:rPr lang="de-DE"/>
              <a:t>78 Production Versions necessary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F1F1F1-1325-3542-A34A-CDE1D79660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205" y="1843739"/>
            <a:ext cx="11166764" cy="2515497"/>
          </a:xfrm>
          <a:prstGeom prst="rect">
            <a:avLst/>
          </a:prstGeom>
        </p:spPr>
      </p:pic>
      <p:sp>
        <p:nvSpPr>
          <p:cNvPr id="9" name="Wolke 8">
            <a:extLst>
              <a:ext uri="{FF2B5EF4-FFF2-40B4-BE49-F238E27FC236}">
                <a16:creationId xmlns:a16="http://schemas.microsoft.com/office/drawing/2014/main" id="{F5499C72-2F66-C82D-9C05-1CAD04C990B6}"/>
              </a:ext>
            </a:extLst>
          </p:cNvPr>
          <p:cNvSpPr/>
          <p:nvPr/>
        </p:nvSpPr>
        <p:spPr>
          <a:xfrm>
            <a:off x="2621280" y="828840"/>
            <a:ext cx="2159328" cy="875091"/>
          </a:xfrm>
          <a:prstGeom prst="clou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VAM5</a:t>
            </a:r>
          </a:p>
          <a:p>
            <a:pPr algn="ctr"/>
            <a:r>
              <a:rPr lang="de-DE" sz="1050"/>
              <a:t>(main)</a:t>
            </a:r>
            <a:endParaRPr lang="de-DE" sz="1050" dirty="0" err="1"/>
          </a:p>
        </p:txBody>
      </p:sp>
      <p:sp>
        <p:nvSpPr>
          <p:cNvPr id="11" name="Wolke 10">
            <a:extLst>
              <a:ext uri="{FF2B5EF4-FFF2-40B4-BE49-F238E27FC236}">
                <a16:creationId xmlns:a16="http://schemas.microsoft.com/office/drawing/2014/main" id="{509B9766-658C-EBD3-9CC7-67FD58CACC8E}"/>
              </a:ext>
            </a:extLst>
          </p:cNvPr>
          <p:cNvSpPr/>
          <p:nvPr/>
        </p:nvSpPr>
        <p:spPr>
          <a:xfrm>
            <a:off x="7414568" y="793844"/>
            <a:ext cx="1929731" cy="945081"/>
          </a:xfrm>
          <a:prstGeom prst="clou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VAM6</a:t>
            </a:r>
          </a:p>
          <a:p>
            <a:pPr algn="ctr"/>
            <a:r>
              <a:rPr lang="de-DE" sz="1050"/>
              <a:t>(Alternative)</a:t>
            </a:r>
            <a:endParaRPr lang="de-DE" sz="1050" dirty="0" err="1"/>
          </a:p>
        </p:txBody>
      </p:sp>
      <p:sp>
        <p:nvSpPr>
          <p:cNvPr id="12" name="Wolke 11">
            <a:extLst>
              <a:ext uri="{FF2B5EF4-FFF2-40B4-BE49-F238E27FC236}">
                <a16:creationId xmlns:a16="http://schemas.microsoft.com/office/drawing/2014/main" id="{392B915C-1B30-1F96-F3A4-A84A77970994}"/>
              </a:ext>
            </a:extLst>
          </p:cNvPr>
          <p:cNvSpPr/>
          <p:nvPr/>
        </p:nvSpPr>
        <p:spPr>
          <a:xfrm>
            <a:off x="1988324" y="4640734"/>
            <a:ext cx="2000201" cy="792254"/>
          </a:xfrm>
          <a:prstGeom prst="clou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400"/>
              <a:t>100% Melexis until July</a:t>
            </a:r>
            <a:endParaRPr lang="de-DE" sz="1400" dirty="0" err="1"/>
          </a:p>
        </p:txBody>
      </p:sp>
      <p:sp>
        <p:nvSpPr>
          <p:cNvPr id="13" name="Wolke 12">
            <a:extLst>
              <a:ext uri="{FF2B5EF4-FFF2-40B4-BE49-F238E27FC236}">
                <a16:creationId xmlns:a16="http://schemas.microsoft.com/office/drawing/2014/main" id="{FCC3629A-A6B5-5869-E088-65ED35C77B56}"/>
              </a:ext>
            </a:extLst>
          </p:cNvPr>
          <p:cNvSpPr/>
          <p:nvPr/>
        </p:nvSpPr>
        <p:spPr>
          <a:xfrm>
            <a:off x="5248903" y="4638792"/>
            <a:ext cx="2296292" cy="1004996"/>
          </a:xfrm>
          <a:prstGeom prst="clou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400"/>
              <a:t>50% Melexis/ 50% Elmos from July</a:t>
            </a:r>
            <a:endParaRPr lang="de-DE" sz="1400" dirty="0" err="1"/>
          </a:p>
        </p:txBody>
      </p:sp>
      <p:sp>
        <p:nvSpPr>
          <p:cNvPr id="14" name="Wolke 13">
            <a:extLst>
              <a:ext uri="{FF2B5EF4-FFF2-40B4-BE49-F238E27FC236}">
                <a16:creationId xmlns:a16="http://schemas.microsoft.com/office/drawing/2014/main" id="{A465F954-61F1-2D72-A9DB-83A8BA4758CD}"/>
              </a:ext>
            </a:extLst>
          </p:cNvPr>
          <p:cNvSpPr/>
          <p:nvPr/>
        </p:nvSpPr>
        <p:spPr>
          <a:xfrm>
            <a:off x="8612646" y="4703315"/>
            <a:ext cx="2143892" cy="729673"/>
          </a:xfrm>
          <a:prstGeom prst="clou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400"/>
              <a:t>Elmos manually from July</a:t>
            </a:r>
            <a:endParaRPr lang="de-DE" sz="1400" dirty="0" err="1"/>
          </a:p>
        </p:txBody>
      </p:sp>
      <p:sp>
        <p:nvSpPr>
          <p:cNvPr id="4" name="Datumsplatzhalter 1">
            <a:extLst>
              <a:ext uri="{FF2B5EF4-FFF2-40B4-BE49-F238E27FC236}">
                <a16:creationId xmlns:a16="http://schemas.microsoft.com/office/drawing/2014/main" id="{4C33C6CB-9166-6B8C-7E72-C55F11283A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</p:spPr>
        <p:txBody>
          <a:bodyPr/>
          <a:lstStyle/>
          <a:p>
            <a:r>
              <a:rPr lang="en-US"/>
              <a:t>23.06.2023    214 AMB Melexis_Elmos </a:t>
            </a:r>
            <a:r>
              <a:rPr lang="en-US" dirty="0"/>
              <a:t>| Becker </a:t>
            </a:r>
            <a:r>
              <a:rPr lang="en-US"/>
              <a:t>Werner OG11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3188B38-B314-F03D-712C-59A3DC6700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205" y="5943570"/>
            <a:ext cx="712623" cy="37056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3E1736CB-58F9-CF5C-B26A-F415F0C6173A}"/>
              </a:ext>
            </a:extLst>
          </p:cNvPr>
          <p:cNvSpPr txBox="1"/>
          <p:nvPr/>
        </p:nvSpPr>
        <p:spPr>
          <a:xfrm>
            <a:off x="1186021" y="5983444"/>
            <a:ext cx="98026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>
                <a:solidFill>
                  <a:srgbClr val="FF0000"/>
                </a:solidFill>
              </a:rPr>
              <a:t>Alternative BOM‘s/ AltItemGroup/ Manual adjusted BOM</a:t>
            </a:r>
            <a:r>
              <a:rPr lang="de-DE"/>
              <a:t>/ PIR = ZVSF (MD61 &amp; MD74)</a:t>
            </a:r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601653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0" name="Titel 4">
            <a:extLst>
              <a:ext uri="{FF2B5EF4-FFF2-40B4-BE49-F238E27FC236}">
                <a16:creationId xmlns:a16="http://schemas.microsoft.com/office/drawing/2014/main" id="{5D2ACAD7-49C4-F652-EFF1-0740A6A36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8"/>
            <a:ext cx="9697138" cy="526810"/>
          </a:xfrm>
        </p:spPr>
        <p:txBody>
          <a:bodyPr/>
          <a:lstStyle/>
          <a:p>
            <a:r>
              <a:rPr lang="de-DE"/>
              <a:t>AltItemGroup on final assembly for 50%50 quot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3C62193-BD74-C44A-89E9-2D11771236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1" y="1201783"/>
            <a:ext cx="4592400" cy="462342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C517C73-974F-DBFC-F851-38E8621FEF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1383" y="1153965"/>
            <a:ext cx="4767055" cy="235953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F9A7C2F-38CD-8BA2-531D-04A7B4D82A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20825" y="4363535"/>
            <a:ext cx="5721351" cy="196312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4920D07-50F5-84C6-6A44-5640508B46C8}"/>
              </a:ext>
            </a:extLst>
          </p:cNvPr>
          <p:cNvSpPr txBox="1"/>
          <p:nvPr/>
        </p:nvSpPr>
        <p:spPr>
          <a:xfrm>
            <a:off x="391885" y="933671"/>
            <a:ext cx="150842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/>
              <a:t>AltItemGroup</a:t>
            </a:r>
            <a:endParaRPr lang="de-DE" dirty="0" err="1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C9D3E2C-F3EA-0560-A3CD-5134CACAD488}"/>
              </a:ext>
            </a:extLst>
          </p:cNvPr>
          <p:cNvSpPr txBox="1"/>
          <p:nvPr/>
        </p:nvSpPr>
        <p:spPr>
          <a:xfrm>
            <a:off x="5079181" y="932182"/>
            <a:ext cx="21530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/>
              <a:t>Production Version</a:t>
            </a:r>
            <a:endParaRPr lang="de-DE" dirty="0" err="1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B2FC73BC-8D1E-2949-1256-0DABB024D2D0}"/>
              </a:ext>
            </a:extLst>
          </p:cNvPr>
          <p:cNvSpPr/>
          <p:nvPr/>
        </p:nvSpPr>
        <p:spPr>
          <a:xfrm>
            <a:off x="7278775" y="3620702"/>
            <a:ext cx="1045029" cy="38013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D586E4F-2F0E-C735-7FD9-F070ACFF80EC}"/>
              </a:ext>
            </a:extLst>
          </p:cNvPr>
          <p:cNvSpPr txBox="1"/>
          <p:nvPr/>
        </p:nvSpPr>
        <p:spPr>
          <a:xfrm>
            <a:off x="7077408" y="4000836"/>
            <a:ext cx="180818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/>
              <a:t>50% : 50% Split</a:t>
            </a:r>
            <a:endParaRPr lang="de-DE" dirty="0" err="1"/>
          </a:p>
        </p:txBody>
      </p:sp>
      <p:sp>
        <p:nvSpPr>
          <p:cNvPr id="4" name="Datumsplatzhalter 1">
            <a:extLst>
              <a:ext uri="{FF2B5EF4-FFF2-40B4-BE49-F238E27FC236}">
                <a16:creationId xmlns:a16="http://schemas.microsoft.com/office/drawing/2014/main" id="{8720EE85-9A42-C765-7A75-1BC3A8D22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</p:spPr>
        <p:txBody>
          <a:bodyPr/>
          <a:lstStyle/>
          <a:p>
            <a:r>
              <a:rPr lang="en-US"/>
              <a:t>23.06.2023    214 AMB Melexis_Elmos </a:t>
            </a:r>
            <a:r>
              <a:rPr lang="en-US" dirty="0"/>
              <a:t>| Becker </a:t>
            </a:r>
            <a:r>
              <a:rPr lang="en-US"/>
              <a:t>Werner OG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142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15F0761-2C19-19E4-14FB-FCEAEB92CF94}"/>
              </a:ext>
            </a:extLst>
          </p:cNvPr>
          <p:cNvSpPr/>
          <p:nvPr/>
        </p:nvSpPr>
        <p:spPr>
          <a:xfrm>
            <a:off x="4677967" y="2140020"/>
            <a:ext cx="2839239" cy="18312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ack-Up</a:t>
            </a:r>
          </a:p>
          <a:p>
            <a:pPr algn="ctr"/>
            <a:r>
              <a:rPr lang="de-DE" sz="540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istory</a:t>
            </a:r>
            <a:endParaRPr lang="de-DE" sz="5400" b="0" cap="none" spc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2640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hteck 83">
            <a:extLst>
              <a:ext uri="{FF2B5EF4-FFF2-40B4-BE49-F238E27FC236}">
                <a16:creationId xmlns:a16="http://schemas.microsoft.com/office/drawing/2014/main" id="{67BA842E-9693-4881-82B8-E85063B9CD20}"/>
              </a:ext>
            </a:extLst>
          </p:cNvPr>
          <p:cNvSpPr/>
          <p:nvPr/>
        </p:nvSpPr>
        <p:spPr>
          <a:xfrm>
            <a:off x="8737735" y="947162"/>
            <a:ext cx="3392785" cy="5281261"/>
          </a:xfrm>
          <a:prstGeom prst="rect">
            <a:avLst/>
          </a:prstGeom>
          <a:noFill/>
          <a:ln w="25400">
            <a:solidFill>
              <a:srgbClr val="5EB34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5.10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C89BD-BF87-45F2-8B82-AB94F8CFB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CBC068E0-7515-4EA6-91F5-FCBB949AB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27" y="294837"/>
            <a:ext cx="10386116" cy="861319"/>
          </a:xfrm>
        </p:spPr>
        <p:txBody>
          <a:bodyPr/>
          <a:lstStyle/>
          <a:p>
            <a:r>
              <a:rPr lang="de-DE" dirty="0" err="1"/>
              <a:t>Highlevel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W214 AMB Project – </a:t>
            </a:r>
            <a:r>
              <a:rPr lang="de-DE" dirty="0" err="1"/>
              <a:t>Connectors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</a:rPr>
              <a:t>1178 TEM</a:t>
            </a:r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9D8C742E-E5C0-48A4-9B32-FFFB734D7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841" y="1463484"/>
            <a:ext cx="1227859" cy="1001057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4387D82-8FB4-4D51-AC36-1BFA8ACB35E1}"/>
              </a:ext>
            </a:extLst>
          </p:cNvPr>
          <p:cNvSpPr txBox="1"/>
          <p:nvPr/>
        </p:nvSpPr>
        <p:spPr>
          <a:xfrm>
            <a:off x="1451655" y="1072909"/>
            <a:ext cx="350672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/>
              <a:t>3 </a:t>
            </a:r>
            <a:r>
              <a:rPr lang="de-DE" sz="1200" u="sng" dirty="0" err="1"/>
              <a:t>Variants</a:t>
            </a:r>
            <a:r>
              <a:rPr lang="de-DE" sz="1200" u="sng" dirty="0"/>
              <a:t> EKE White-Steckerkorb</a:t>
            </a:r>
          </a:p>
          <a:p>
            <a:pPr marL="285750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106237114-004 (Master Production Version #1)</a:t>
            </a:r>
          </a:p>
          <a:p>
            <a:pPr marL="285750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(Production Version #2)</a:t>
            </a:r>
          </a:p>
          <a:p>
            <a:pPr marL="285750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(Production Version #3)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A887FBAB-860B-4E5F-9DDD-9AC0A5F822F8}"/>
              </a:ext>
            </a:extLst>
          </p:cNvPr>
          <p:cNvSpPr txBox="1"/>
          <p:nvPr/>
        </p:nvSpPr>
        <p:spPr>
          <a:xfrm>
            <a:off x="6330307" y="1092092"/>
            <a:ext cx="169578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/>
              <a:t>1 Variant EKE_LIN_RGB</a:t>
            </a:r>
          </a:p>
          <a:p>
            <a:pPr marL="28575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106237115-004 (#4)</a:t>
            </a:r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09C4B5C6-8D03-4A0B-9893-5881F12B8B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0501" y="1453630"/>
            <a:ext cx="1219836" cy="1022339"/>
          </a:xfrm>
          <a:prstGeom prst="rect">
            <a:avLst/>
          </a:prstGeom>
        </p:spPr>
      </p:pic>
      <p:sp>
        <p:nvSpPr>
          <p:cNvPr id="53" name="Textfeld 52">
            <a:extLst>
              <a:ext uri="{FF2B5EF4-FFF2-40B4-BE49-F238E27FC236}">
                <a16:creationId xmlns:a16="http://schemas.microsoft.com/office/drawing/2014/main" id="{137FA948-EDD4-4BF4-8CE8-FB92B613D03D}"/>
              </a:ext>
            </a:extLst>
          </p:cNvPr>
          <p:cNvSpPr txBox="1"/>
          <p:nvPr/>
        </p:nvSpPr>
        <p:spPr>
          <a:xfrm>
            <a:off x="8813918" y="1081527"/>
            <a:ext cx="3298130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/>
              <a:t>2</a:t>
            </a:r>
            <a:r>
              <a:rPr lang="de-DE" sz="1200" u="sng" dirty="0"/>
              <a:t>3</a:t>
            </a:r>
            <a:r>
              <a:rPr lang="de-DE" sz="1200" u="sng"/>
              <a:t> </a:t>
            </a:r>
            <a:r>
              <a:rPr lang="de-DE" sz="1200" u="sng" dirty="0" err="1"/>
              <a:t>Variants</a:t>
            </a:r>
            <a:r>
              <a:rPr lang="de-DE" sz="1200" u="sng" dirty="0"/>
              <a:t> </a:t>
            </a:r>
            <a:r>
              <a:rPr lang="de-DE" sz="1200" u="sng" dirty="0" err="1"/>
              <a:t>EKE_LIN_RGB_m_Adapterleitungssatz</a:t>
            </a:r>
            <a:endParaRPr lang="de-DE" sz="1200" u="sng" dirty="0"/>
          </a:p>
          <a:p>
            <a:pPr marL="28575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106237116-005 1 EKE (#5)</a:t>
            </a:r>
          </a:p>
          <a:p>
            <a:pPr marL="28575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933750" lvl="3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900" dirty="0" err="1">
                <a:solidFill>
                  <a:srgbClr val="E72D34"/>
                </a:solidFill>
              </a:rPr>
              <a:t>Tbd</a:t>
            </a:r>
            <a:r>
              <a:rPr lang="de-DE" sz="900" dirty="0">
                <a:solidFill>
                  <a:srgbClr val="E72D34"/>
                </a:solidFill>
              </a:rPr>
              <a:t>. ? 6 EKE (check </a:t>
            </a:r>
            <a:r>
              <a:rPr lang="de-DE" sz="900" dirty="0" err="1">
                <a:solidFill>
                  <a:srgbClr val="E72D34"/>
                </a:solidFill>
              </a:rPr>
              <a:t>with</a:t>
            </a:r>
            <a:r>
              <a:rPr lang="de-DE" sz="900" dirty="0">
                <a:solidFill>
                  <a:srgbClr val="E72D34"/>
                </a:solidFill>
              </a:rPr>
              <a:t> </a:t>
            </a:r>
            <a:r>
              <a:rPr lang="de-DE" sz="900" b="0" i="0" dirty="0">
                <a:solidFill>
                  <a:srgbClr val="E72D34"/>
                </a:solidFill>
                <a:effectLst/>
                <a:latin typeface="Segoe UI" panose="020B0502040204020203" pitchFamily="34" charset="0"/>
              </a:rPr>
              <a:t>Saupe Tilo</a:t>
            </a:r>
            <a:endParaRPr lang="de-DE" sz="900" dirty="0">
              <a:solidFill>
                <a:srgbClr val="E72D34"/>
              </a:solidFill>
            </a:endParaRPr>
          </a:p>
          <a:p>
            <a:pPr marL="933750" lvl="3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900" dirty="0" err="1">
                <a:solidFill>
                  <a:srgbClr val="E72D34"/>
                </a:solidFill>
              </a:rPr>
              <a:t>Tbd</a:t>
            </a:r>
            <a:r>
              <a:rPr lang="de-DE" sz="900" dirty="0">
                <a:solidFill>
                  <a:srgbClr val="E72D34"/>
                </a:solidFill>
              </a:rPr>
              <a:t>. ? 8 EKE (check </a:t>
            </a:r>
            <a:r>
              <a:rPr lang="de-DE" sz="900" dirty="0" err="1">
                <a:solidFill>
                  <a:srgbClr val="E72D34"/>
                </a:solidFill>
              </a:rPr>
              <a:t>with</a:t>
            </a:r>
            <a:r>
              <a:rPr lang="de-DE" sz="900" dirty="0">
                <a:solidFill>
                  <a:srgbClr val="E72D34"/>
                </a:solidFill>
              </a:rPr>
              <a:t> </a:t>
            </a:r>
            <a:r>
              <a:rPr lang="de-DE" sz="900" b="0" i="0" dirty="0">
                <a:solidFill>
                  <a:srgbClr val="E72D34"/>
                </a:solidFill>
                <a:effectLst/>
                <a:latin typeface="Segoe UI" panose="020B0502040204020203" pitchFamily="34" charset="0"/>
              </a:rPr>
              <a:t>Saupe Tilo)</a:t>
            </a:r>
            <a:endParaRPr lang="de-DE" sz="900" dirty="0">
              <a:solidFill>
                <a:srgbClr val="E72D34"/>
              </a:solidFill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7ACFC18-CC93-4509-828D-F38155B88F31}"/>
              </a:ext>
            </a:extLst>
          </p:cNvPr>
          <p:cNvSpPr txBox="1"/>
          <p:nvPr/>
        </p:nvSpPr>
        <p:spPr>
          <a:xfrm>
            <a:off x="2126369" y="5515803"/>
            <a:ext cx="19290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FF0000"/>
                </a:solidFill>
              </a:rPr>
              <a:t>Production Version (#2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56671-002 CD2880</a:t>
            </a:r>
          </a:p>
          <a:p>
            <a:pPr algn="l">
              <a:spcBef>
                <a:spcPts val="0"/>
              </a:spcBef>
            </a:pP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90005356-001</a:t>
            </a:r>
            <a:r>
              <a:rPr lang="de-DE" sz="1200" dirty="0"/>
              <a:t> </a:t>
            </a: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50R_500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r>
              <a:rPr lang="de-DE" sz="1200" dirty="0"/>
              <a:t> 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C2AB10B4-97CA-49BD-8BA7-984FEEC0F79D}"/>
              </a:ext>
            </a:extLst>
          </p:cNvPr>
          <p:cNvSpPr txBox="1"/>
          <p:nvPr/>
        </p:nvSpPr>
        <p:spPr>
          <a:xfrm>
            <a:off x="3911210" y="5526599"/>
            <a:ext cx="1837826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FF0000"/>
                </a:solidFill>
              </a:rPr>
              <a:t>Production Version (#3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56672-002 CD3440</a:t>
            </a:r>
          </a:p>
          <a:p>
            <a:pPr algn="l">
              <a:spcBef>
                <a:spcPts val="0"/>
              </a:spcBef>
            </a:pP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90005357-001  910R_500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03D87289-31B6-4575-AE10-F443C9A92795}"/>
              </a:ext>
            </a:extLst>
          </p:cNvPr>
          <p:cNvSpPr txBox="1"/>
          <p:nvPr/>
        </p:nvSpPr>
        <p:spPr>
          <a:xfrm>
            <a:off x="4195563" y="4032791"/>
            <a:ext cx="122785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BOM</a:t>
            </a: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MRP-relevant</a:t>
            </a: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Order 3</a:t>
            </a:r>
          </a:p>
          <a:p>
            <a:pPr algn="ctr">
              <a:spcBef>
                <a:spcPts val="0"/>
              </a:spcBef>
            </a:pPr>
            <a:r>
              <a:rPr lang="de-DE" sz="1050" dirty="0" err="1">
                <a:solidFill>
                  <a:srgbClr val="FF0000"/>
                </a:solidFill>
              </a:rPr>
              <a:t>Built</a:t>
            </a:r>
            <a:r>
              <a:rPr lang="de-DE" sz="1050" dirty="0">
                <a:solidFill>
                  <a:srgbClr val="FF0000"/>
                </a:solidFill>
              </a:rPr>
              <a:t> </a:t>
            </a:r>
            <a:r>
              <a:rPr lang="de-DE" sz="1050" dirty="0" err="1">
                <a:solidFill>
                  <a:srgbClr val="FF0000"/>
                </a:solidFill>
              </a:rPr>
              <a:t>only</a:t>
            </a:r>
            <a:r>
              <a:rPr lang="de-DE" sz="1050" dirty="0">
                <a:solidFill>
                  <a:srgbClr val="FF0000"/>
                </a:solidFill>
              </a:rPr>
              <a:t> 1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9CFA879-647E-4DDF-8903-280683B36CDD}"/>
              </a:ext>
            </a:extLst>
          </p:cNvPr>
          <p:cNvSpPr txBox="1"/>
          <p:nvPr/>
        </p:nvSpPr>
        <p:spPr>
          <a:xfrm>
            <a:off x="1056664" y="5004975"/>
            <a:ext cx="23637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 err="1">
                <a:solidFill>
                  <a:srgbClr val="FF0000"/>
                </a:solidFill>
              </a:rPr>
              <a:t>Diffence</a:t>
            </a:r>
            <a:r>
              <a:rPr lang="de-DE" sz="1200" u="sng" dirty="0">
                <a:solidFill>
                  <a:srgbClr val="FF0000"/>
                </a:solidFill>
              </a:rPr>
              <a:t> ELFE </a:t>
            </a:r>
            <a:r>
              <a:rPr lang="de-DE" sz="1200" u="sng" dirty="0" err="1">
                <a:solidFill>
                  <a:srgbClr val="FF0000"/>
                </a:solidFill>
              </a:rPr>
              <a:t>resitor</a:t>
            </a:r>
            <a:r>
              <a:rPr lang="de-DE" sz="1200" u="sng" dirty="0">
                <a:solidFill>
                  <a:srgbClr val="FF0000"/>
                </a:solidFill>
              </a:rPr>
              <a:t> BOP &amp; BOM</a:t>
            </a:r>
          </a:p>
        </p:txBody>
      </p:sp>
      <p:sp>
        <p:nvSpPr>
          <p:cNvPr id="64" name="Pfeil: nach oben gekrümmt 63">
            <a:extLst>
              <a:ext uri="{FF2B5EF4-FFF2-40B4-BE49-F238E27FC236}">
                <a16:creationId xmlns:a16="http://schemas.microsoft.com/office/drawing/2014/main" id="{56283077-BE64-4EEF-BCCB-D250FC1F75A9}"/>
              </a:ext>
            </a:extLst>
          </p:cNvPr>
          <p:cNvSpPr/>
          <p:nvPr/>
        </p:nvSpPr>
        <p:spPr>
          <a:xfrm rot="19602930">
            <a:off x="3451474" y="4934441"/>
            <a:ext cx="935821" cy="369332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65" name="Grafik 64">
            <a:extLst>
              <a:ext uri="{FF2B5EF4-FFF2-40B4-BE49-F238E27FC236}">
                <a16:creationId xmlns:a16="http://schemas.microsoft.com/office/drawing/2014/main" id="{3949ED26-5B3E-46DB-BC4A-6EFE417096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0805" y="4717790"/>
            <a:ext cx="490073" cy="254838"/>
          </a:xfrm>
          <a:prstGeom prst="rect">
            <a:avLst/>
          </a:prstGeom>
        </p:spPr>
      </p:pic>
      <p:sp>
        <p:nvSpPr>
          <p:cNvPr id="66" name="Gewitterblitz 65">
            <a:extLst>
              <a:ext uri="{FF2B5EF4-FFF2-40B4-BE49-F238E27FC236}">
                <a16:creationId xmlns:a16="http://schemas.microsoft.com/office/drawing/2014/main" id="{43C520C2-0B97-4ADF-8E71-D3C806EA56C2}"/>
              </a:ext>
            </a:extLst>
          </p:cNvPr>
          <p:cNvSpPr/>
          <p:nvPr/>
        </p:nvSpPr>
        <p:spPr>
          <a:xfrm>
            <a:off x="4816569" y="4702987"/>
            <a:ext cx="419449" cy="324424"/>
          </a:xfrm>
          <a:prstGeom prst="lightningBol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67" name="Geschweifte Klammer rechts 66">
            <a:extLst>
              <a:ext uri="{FF2B5EF4-FFF2-40B4-BE49-F238E27FC236}">
                <a16:creationId xmlns:a16="http://schemas.microsoft.com/office/drawing/2014/main" id="{E68ABA67-83B4-4C92-8982-9F037068CB15}"/>
              </a:ext>
            </a:extLst>
          </p:cNvPr>
          <p:cNvSpPr/>
          <p:nvPr/>
        </p:nvSpPr>
        <p:spPr>
          <a:xfrm>
            <a:off x="3930128" y="3944567"/>
            <a:ext cx="125335" cy="355001"/>
          </a:xfrm>
          <a:prstGeom prst="rightBrac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C93BF32-6BD5-4A4E-AA37-24A8AA81F75F}"/>
              </a:ext>
            </a:extLst>
          </p:cNvPr>
          <p:cNvSpPr txBox="1"/>
          <p:nvPr/>
        </p:nvSpPr>
        <p:spPr>
          <a:xfrm>
            <a:off x="4393918" y="5077970"/>
            <a:ext cx="1255152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Manual </a:t>
            </a:r>
            <a:r>
              <a:rPr lang="de-DE" sz="1050" dirty="0" err="1">
                <a:solidFill>
                  <a:srgbClr val="FF0000"/>
                </a:solidFill>
              </a:rPr>
              <a:t>assignment</a:t>
            </a:r>
            <a:endParaRPr lang="de-DE" sz="1050" dirty="0">
              <a:solidFill>
                <a:srgbClr val="FF0000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ELFE </a:t>
            </a:r>
            <a:r>
              <a:rPr lang="de-DE" sz="1050" dirty="0" err="1">
                <a:solidFill>
                  <a:srgbClr val="FF0000"/>
                </a:solidFill>
              </a:rPr>
              <a:t>part</a:t>
            </a:r>
            <a:r>
              <a:rPr lang="de-DE" sz="1050" dirty="0">
                <a:solidFill>
                  <a:srgbClr val="FF0000"/>
                </a:solidFill>
              </a:rPr>
              <a:t> </a:t>
            </a:r>
            <a:r>
              <a:rPr lang="de-DE" sz="1050" dirty="0" err="1">
                <a:solidFill>
                  <a:srgbClr val="FF0000"/>
                </a:solidFill>
              </a:rPr>
              <a:t>to</a:t>
            </a:r>
            <a:r>
              <a:rPr lang="de-DE" sz="1050" dirty="0">
                <a:solidFill>
                  <a:srgbClr val="FF0000"/>
                </a:solidFill>
              </a:rPr>
              <a:t> FAUF?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0F64687-A2F8-4D80-9BB2-848B0FB8827F}"/>
              </a:ext>
            </a:extLst>
          </p:cNvPr>
          <p:cNvSpPr/>
          <p:nvPr/>
        </p:nvSpPr>
        <p:spPr>
          <a:xfrm>
            <a:off x="83127" y="947162"/>
            <a:ext cx="5726545" cy="5281261"/>
          </a:xfrm>
          <a:prstGeom prst="rect">
            <a:avLst/>
          </a:prstGeom>
          <a:noFill/>
          <a:ln w="25400">
            <a:solidFill>
              <a:srgbClr val="E72D3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96123B90-83FA-4B5E-8F7F-A17CAE77D8E1}"/>
              </a:ext>
            </a:extLst>
          </p:cNvPr>
          <p:cNvSpPr txBox="1"/>
          <p:nvPr/>
        </p:nvSpPr>
        <p:spPr>
          <a:xfrm>
            <a:off x="5975655" y="5329088"/>
            <a:ext cx="2744964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/>
              <a:t>106237115-004 (#4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56655-003 EKE_LIN_RGB</a:t>
            </a:r>
          </a:p>
          <a:p>
            <a:pPr algn="l">
              <a:spcBef>
                <a:spcPts val="0"/>
              </a:spcBef>
            </a:pP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00056653-002 Empty Platine</a:t>
            </a:r>
            <a:r>
              <a:rPr lang="de-DE" sz="1200" dirty="0"/>
              <a:t> </a:t>
            </a: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274_BR214_EKE_LIN_RGB.PrjPcbPWB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SYE</a:t>
            </a:r>
            <a:endParaRPr lang="de-DE" sz="1200" dirty="0"/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40A50225-F5B2-4DA2-AF07-38E0C530F542}"/>
              </a:ext>
            </a:extLst>
          </p:cNvPr>
          <p:cNvSpPr txBox="1"/>
          <p:nvPr/>
        </p:nvSpPr>
        <p:spPr>
          <a:xfrm>
            <a:off x="8803052" y="5340153"/>
            <a:ext cx="2436172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u="sng" dirty="0"/>
              <a:t>106237116-005 (#5)</a:t>
            </a:r>
          </a:p>
          <a:p>
            <a:pPr>
              <a:spcBef>
                <a:spcPts val="0"/>
              </a:spcBef>
            </a:pPr>
            <a:r>
              <a:rPr lang="de-DE" sz="1200" dirty="0"/>
              <a:t>300056688-003 EKE_LIN_RGB_H</a:t>
            </a:r>
          </a:p>
          <a:p>
            <a:pPr algn="l">
              <a:spcBef>
                <a:spcPts val="0"/>
              </a:spcBef>
            </a:pP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00056687-002 Empty Platine</a:t>
            </a:r>
            <a:r>
              <a:rPr lang="de-DE" sz="1200" dirty="0"/>
              <a:t> </a:t>
            </a: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303_BR214_EKE_LIN_RGB_H.PrjPcbPWB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SYE</a:t>
            </a:r>
            <a:endParaRPr lang="de-DE" sz="12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1EA9F35B-39B9-4C78-B7C2-E2F33F7A9B83}"/>
              </a:ext>
            </a:extLst>
          </p:cNvPr>
          <p:cNvSpPr/>
          <p:nvPr/>
        </p:nvSpPr>
        <p:spPr>
          <a:xfrm>
            <a:off x="5897937" y="947161"/>
            <a:ext cx="2744965" cy="5281261"/>
          </a:xfrm>
          <a:prstGeom prst="rect">
            <a:avLst/>
          </a:prstGeom>
          <a:noFill/>
          <a:ln w="25400">
            <a:solidFill>
              <a:srgbClr val="5EB34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4C8AF0B6-1739-400D-A24F-6431E42F8CB0}"/>
              </a:ext>
            </a:extLst>
          </p:cNvPr>
          <p:cNvSpPr txBox="1"/>
          <p:nvPr/>
        </p:nvSpPr>
        <p:spPr>
          <a:xfrm>
            <a:off x="7382100" y="5049521"/>
            <a:ext cx="3003323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 err="1"/>
              <a:t>Difference</a:t>
            </a:r>
            <a:r>
              <a:rPr lang="de-DE" sz="1200" u="sng" dirty="0"/>
              <a:t> ELFE </a:t>
            </a:r>
            <a:r>
              <a:rPr lang="de-DE" sz="1200" u="sng" dirty="0" err="1"/>
              <a:t>empty</a:t>
            </a:r>
            <a:r>
              <a:rPr lang="de-DE" sz="1200" u="sng" dirty="0"/>
              <a:t> </a:t>
            </a:r>
            <a:r>
              <a:rPr lang="de-DE" sz="1200" u="sng" dirty="0" err="1"/>
              <a:t>platine</a:t>
            </a:r>
            <a:r>
              <a:rPr lang="de-DE" sz="1200" u="sng" dirty="0"/>
              <a:t> BOP &amp; BOM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A36B1141-3DAD-4420-AAD3-036BBA9A3D69}"/>
              </a:ext>
            </a:extLst>
          </p:cNvPr>
          <p:cNvSpPr txBox="1"/>
          <p:nvPr/>
        </p:nvSpPr>
        <p:spPr>
          <a:xfrm>
            <a:off x="126536" y="5508092"/>
            <a:ext cx="1922115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FF0000"/>
                </a:solidFill>
              </a:rPr>
              <a:t>106237114-004 (Master #1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56670-003 CD2400</a:t>
            </a:r>
          </a:p>
          <a:p>
            <a:pPr algn="l">
              <a:spcBef>
                <a:spcPts val="0"/>
              </a:spcBef>
            </a:pP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90003501-001</a:t>
            </a:r>
            <a:r>
              <a:rPr lang="de-DE" sz="1200" dirty="0"/>
              <a:t> </a:t>
            </a: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680R_500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2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97EF6F8-3C79-4757-AE8C-86AAF8D0E02B}"/>
              </a:ext>
            </a:extLst>
          </p:cNvPr>
          <p:cNvSpPr txBox="1"/>
          <p:nvPr/>
        </p:nvSpPr>
        <p:spPr>
          <a:xfrm>
            <a:off x="4030146" y="2681087"/>
            <a:ext cx="16811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nual </a:t>
            </a:r>
            <a:r>
              <a:rPr lang="de-DE" sz="1200" dirty="0" err="1">
                <a:solidFill>
                  <a:srgbClr val="FF0000"/>
                </a:solidFill>
              </a:rPr>
              <a:t>Indication</a:t>
            </a:r>
            <a:r>
              <a:rPr lang="de-DE" sz="1200" dirty="0">
                <a:solidFill>
                  <a:srgbClr val="FF0000"/>
                </a:solidFill>
              </a:rPr>
              <a:t> on </a:t>
            </a:r>
            <a:r>
              <a:rPr lang="de-DE" sz="1200" dirty="0" err="1">
                <a:solidFill>
                  <a:srgbClr val="FF0000"/>
                </a:solidFill>
              </a:rPr>
              <a:t>the</a:t>
            </a:r>
            <a:r>
              <a:rPr lang="de-DE" sz="1200" dirty="0">
                <a:solidFill>
                  <a:srgbClr val="FF0000"/>
                </a:solidFill>
              </a:rPr>
              <a:t> LED-Comp. </a:t>
            </a:r>
            <a:r>
              <a:rPr lang="de-DE" sz="1200" dirty="0" err="1">
                <a:solidFill>
                  <a:srgbClr val="FF0000"/>
                </a:solidFill>
              </a:rPr>
              <a:t>from</a:t>
            </a:r>
            <a:r>
              <a:rPr lang="de-DE" sz="1200" dirty="0">
                <a:solidFill>
                  <a:srgbClr val="FF0000"/>
                </a:solidFill>
              </a:rPr>
              <a:t> supplier </a:t>
            </a:r>
            <a:r>
              <a:rPr lang="de-DE" sz="1200" dirty="0" err="1">
                <a:solidFill>
                  <a:srgbClr val="FF0000"/>
                </a:solidFill>
              </a:rPr>
              <a:t>Nichia</a:t>
            </a:r>
            <a:r>
              <a:rPr lang="de-DE" sz="1200" dirty="0">
                <a:solidFill>
                  <a:srgbClr val="FF0000"/>
                </a:solidFill>
              </a:rPr>
              <a:t>: </a:t>
            </a:r>
          </a:p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t.no. 590005136-001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58CC669A-F7E5-489B-BC37-CD1667730161}"/>
              </a:ext>
            </a:extLst>
          </p:cNvPr>
          <p:cNvSpPr txBox="1"/>
          <p:nvPr/>
        </p:nvSpPr>
        <p:spPr>
          <a:xfrm>
            <a:off x="3930128" y="3732184"/>
            <a:ext cx="155347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dirty="0" err="1"/>
              <a:t>Rutronik</a:t>
            </a:r>
            <a:endParaRPr lang="de-DE" sz="1200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CC3BB71-C537-4E39-82AC-0C23BB02F1CC}"/>
              </a:ext>
            </a:extLst>
          </p:cNvPr>
          <p:cNvSpPr txBox="1"/>
          <p:nvPr/>
        </p:nvSpPr>
        <p:spPr>
          <a:xfrm>
            <a:off x="10479044" y="3255173"/>
            <a:ext cx="155347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defRPr sz="1200">
                <a:solidFill>
                  <a:srgbClr val="FF0000"/>
                </a:solidFill>
              </a:defRPr>
            </a:lvl1pPr>
          </a:lstStyle>
          <a:p>
            <a:r>
              <a:rPr lang="de-DE" dirty="0"/>
              <a:t>TEM </a:t>
            </a:r>
            <a:r>
              <a:rPr lang="de-DE" dirty="0" err="1"/>
              <a:t>Finished</a:t>
            </a:r>
            <a:r>
              <a:rPr lang="de-DE" dirty="0"/>
              <a:t>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liver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completion</a:t>
            </a:r>
            <a:r>
              <a:rPr lang="de-DE" dirty="0"/>
              <a:t> (</a:t>
            </a:r>
            <a:r>
              <a:rPr lang="de-DE" dirty="0" err="1"/>
              <a:t>cable</a:t>
            </a:r>
            <a:r>
              <a:rPr lang="de-DE" dirty="0"/>
              <a:t>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rbia</a:t>
            </a:r>
            <a:r>
              <a:rPr lang="de-DE" dirty="0"/>
              <a:t> (Zrenjanin ZRE) and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retur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EM</a:t>
            </a:r>
          </a:p>
          <a:p>
            <a:r>
              <a:rPr lang="de-DE" dirty="0" err="1"/>
              <a:t>agai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customer</a:t>
            </a:r>
            <a:endParaRPr lang="de-DE" dirty="0"/>
          </a:p>
          <a:p>
            <a:r>
              <a:rPr lang="de-DE" dirty="0"/>
              <a:t>(</a:t>
            </a:r>
            <a:r>
              <a:rPr lang="de-DE" dirty="0" err="1"/>
              <a:t>similar</a:t>
            </a:r>
            <a:r>
              <a:rPr lang="de-DE" dirty="0"/>
              <a:t> like </a:t>
            </a:r>
            <a:r>
              <a:rPr lang="de-DE" dirty="0" err="1"/>
              <a:t>Cahul</a:t>
            </a:r>
            <a:r>
              <a:rPr lang="de-DE" dirty="0"/>
              <a:t>)</a:t>
            </a:r>
          </a:p>
          <a:p>
            <a:r>
              <a:rPr lang="de-DE" dirty="0"/>
              <a:t>See separate </a:t>
            </a:r>
            <a:r>
              <a:rPr lang="de-DE" dirty="0" err="1"/>
              <a:t>ppt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64989B8-C97E-4071-8317-BA5103F5BE6C}"/>
              </a:ext>
            </a:extLst>
          </p:cNvPr>
          <p:cNvSpPr txBox="1"/>
          <p:nvPr/>
        </p:nvSpPr>
        <p:spPr>
          <a:xfrm>
            <a:off x="265335" y="1955799"/>
            <a:ext cx="162384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 err="1"/>
              <a:t>From</a:t>
            </a:r>
            <a:r>
              <a:rPr lang="de-DE" sz="1400" dirty="0"/>
              <a:t> </a:t>
            </a:r>
            <a:r>
              <a:rPr lang="de-DE" sz="1400" dirty="0" err="1"/>
              <a:t>cw</a:t>
            </a:r>
            <a:r>
              <a:rPr lang="de-DE" sz="1400" dirty="0"/>
              <a:t>. 45 all</a:t>
            </a:r>
          </a:p>
          <a:p>
            <a:pPr algn="l">
              <a:spcBef>
                <a:spcPts val="0"/>
              </a:spcBef>
            </a:pPr>
            <a:r>
              <a:rPr lang="de-DE" sz="1400" dirty="0"/>
              <a:t>Housings </a:t>
            </a:r>
            <a:r>
              <a:rPr lang="de-DE" sz="1400" dirty="0" err="1"/>
              <a:t>from</a:t>
            </a:r>
            <a:r>
              <a:rPr lang="de-DE" sz="1400" dirty="0"/>
              <a:t> BRA!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33259E1-45FC-4217-8291-433E1EEE4956}"/>
              </a:ext>
            </a:extLst>
          </p:cNvPr>
          <p:cNvCxnSpPr>
            <a:cxnSpLocks/>
            <a:stCxn id="67" idx="1"/>
            <a:endCxn id="31" idx="2"/>
          </p:cNvCxnSpPr>
          <p:nvPr/>
        </p:nvCxnSpPr>
        <p:spPr>
          <a:xfrm flipV="1">
            <a:off x="4055463" y="3916850"/>
            <a:ext cx="651402" cy="2052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B18FE59B-197D-419A-8216-C47284F8B66A}"/>
              </a:ext>
            </a:extLst>
          </p:cNvPr>
          <p:cNvCxnSpPr>
            <a:cxnSpLocks/>
            <a:stCxn id="5" idx="2"/>
            <a:endCxn id="31" idx="0"/>
          </p:cNvCxnSpPr>
          <p:nvPr/>
        </p:nvCxnSpPr>
        <p:spPr>
          <a:xfrm flipH="1">
            <a:off x="4706865" y="3419751"/>
            <a:ext cx="163868" cy="3124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6F3DFB19-671F-49C2-9857-CD73B0CF3BE3}"/>
              </a:ext>
            </a:extLst>
          </p:cNvPr>
          <p:cNvCxnSpPr>
            <a:endCxn id="5" idx="2"/>
          </p:cNvCxnSpPr>
          <p:nvPr/>
        </p:nvCxnSpPr>
        <p:spPr>
          <a:xfrm flipV="1">
            <a:off x="3795231" y="3419751"/>
            <a:ext cx="1075502" cy="4584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8C4E48B7-C5DB-4C6F-BD7C-6E009EA5CE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658" y="2602669"/>
            <a:ext cx="3747497" cy="1815648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C32D5419-5008-4C98-B60F-56F81AA675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9584" y="3321248"/>
            <a:ext cx="4349139" cy="1321109"/>
          </a:xfrm>
          <a:prstGeom prst="rect">
            <a:avLst/>
          </a:prstGeom>
        </p:spPr>
      </p:pic>
      <p:sp>
        <p:nvSpPr>
          <p:cNvPr id="60" name="Textfeld 59">
            <a:extLst>
              <a:ext uri="{FF2B5EF4-FFF2-40B4-BE49-F238E27FC236}">
                <a16:creationId xmlns:a16="http://schemas.microsoft.com/office/drawing/2014/main" id="{DB2FC538-AAB8-4552-B5DE-4A134761715F}"/>
              </a:ext>
            </a:extLst>
          </p:cNvPr>
          <p:cNvSpPr txBox="1"/>
          <p:nvPr/>
        </p:nvSpPr>
        <p:spPr>
          <a:xfrm>
            <a:off x="6025174" y="3060369"/>
            <a:ext cx="80631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u="sng" dirty="0"/>
              <a:t>Elfe </a:t>
            </a:r>
            <a:r>
              <a:rPr lang="de-DE" sz="1400" u="sng" dirty="0" err="1"/>
              <a:t>parts</a:t>
            </a:r>
            <a:r>
              <a:rPr lang="de-DE" sz="1400" u="sng" dirty="0"/>
              <a:t>: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E59473C1-E079-4D28-B926-B446AA5483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7748" y="1625205"/>
            <a:ext cx="1389907" cy="361015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ED9D43F5-966D-4F3B-BE0C-174BC5F7A2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06741" y="2262089"/>
            <a:ext cx="1187238" cy="887118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D6F56B27-2B33-48D2-B9ED-9E26C65F25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18148" y="2281856"/>
            <a:ext cx="1309614" cy="8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373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E2AE1FD4-3E01-44F1-9DB8-071C3BB32BDC}"/>
              </a:ext>
            </a:extLst>
          </p:cNvPr>
          <p:cNvSpPr/>
          <p:nvPr/>
        </p:nvSpPr>
        <p:spPr>
          <a:xfrm>
            <a:off x="1080085" y="3234847"/>
            <a:ext cx="10760189" cy="310968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6E90BF9-B435-4570-A64F-2B94AC5FB844}"/>
              </a:ext>
            </a:extLst>
          </p:cNvPr>
          <p:cNvGrpSpPr/>
          <p:nvPr/>
        </p:nvGrpSpPr>
        <p:grpSpPr>
          <a:xfrm>
            <a:off x="2624384" y="1387800"/>
            <a:ext cx="7679021" cy="1507943"/>
            <a:chOff x="2624384" y="1387800"/>
            <a:chExt cx="7679021" cy="1507943"/>
          </a:xfrm>
        </p:grpSpPr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F73BCD-8496-4961-91CE-A971E93C0F9F}"/>
                </a:ext>
              </a:extLst>
            </p:cNvPr>
            <p:cNvSpPr/>
            <p:nvPr/>
          </p:nvSpPr>
          <p:spPr>
            <a:xfrm>
              <a:off x="2624384" y="1387800"/>
              <a:ext cx="7671592" cy="150794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algn="l"/>
              <a:endParaRPr lang="de-DE" dirty="0" err="1"/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AF818A8D-4239-49C6-BA80-5B4EE0FFC0E7}"/>
                </a:ext>
              </a:extLst>
            </p:cNvPr>
            <p:cNvSpPr txBox="1"/>
            <p:nvPr/>
          </p:nvSpPr>
          <p:spPr>
            <a:xfrm>
              <a:off x="7519053" y="2679388"/>
              <a:ext cx="278435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0"/>
                </a:spcBef>
              </a:pPr>
              <a:r>
                <a:rPr lang="de-DE" sz="1400" dirty="0"/>
                <a:t>HOST </a:t>
              </a:r>
              <a:r>
                <a:rPr lang="de-DE" sz="1400" dirty="0" err="1"/>
                <a:t>ordering</a:t>
              </a:r>
              <a:r>
                <a:rPr lang="de-DE" sz="1400" dirty="0"/>
                <a:t> D6 </a:t>
              </a:r>
              <a:r>
                <a:rPr lang="de-DE" sz="1400" dirty="0" err="1">
                  <a:solidFill>
                    <a:srgbClr val="E72D34"/>
                  </a:solidFill>
                </a:rPr>
                <a:t>cross</a:t>
              </a:r>
              <a:r>
                <a:rPr lang="de-DE" sz="1400" dirty="0">
                  <a:solidFill>
                    <a:srgbClr val="E72D34"/>
                  </a:solidFill>
                </a:rPr>
                <a:t>-dock ES?</a:t>
              </a:r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D06936E1-0E2F-4348-9F1B-BB9067A0D7D7}"/>
              </a:ext>
            </a:extLst>
          </p:cNvPr>
          <p:cNvSpPr/>
          <p:nvPr/>
        </p:nvSpPr>
        <p:spPr>
          <a:xfrm>
            <a:off x="717880" y="2995129"/>
            <a:ext cx="10760189" cy="31096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5.10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C89BD-BF87-45F2-8B82-AB94F8CFB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CBC068E0-7515-4EA6-91F5-FCBB949AB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27" y="294837"/>
            <a:ext cx="10699550" cy="861319"/>
          </a:xfrm>
        </p:spPr>
        <p:txBody>
          <a:bodyPr/>
          <a:lstStyle/>
          <a:p>
            <a:r>
              <a:rPr lang="de-DE" dirty="0" err="1"/>
              <a:t>Highlevel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W214 AMB Project – RGB Adapter </a:t>
            </a:r>
            <a:r>
              <a:rPr lang="de-DE" dirty="0">
                <a:solidFill>
                  <a:schemeClr val="accent5"/>
                </a:solidFill>
              </a:rPr>
              <a:t>1178 TEM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137FA948-EDD4-4BF4-8CE8-FB92B613D03D}"/>
              </a:ext>
            </a:extLst>
          </p:cNvPr>
          <p:cNvSpPr txBox="1"/>
          <p:nvPr/>
        </p:nvSpPr>
        <p:spPr>
          <a:xfrm>
            <a:off x="1678327" y="753186"/>
            <a:ext cx="87909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/>
              <a:t>14 </a:t>
            </a:r>
            <a:r>
              <a:rPr lang="de-DE" sz="1200" u="sng" dirty="0" err="1"/>
              <a:t>Variants</a:t>
            </a:r>
            <a:r>
              <a:rPr lang="de-DE" sz="1200" u="sng" dirty="0"/>
              <a:t> </a:t>
            </a:r>
            <a:r>
              <a:rPr lang="de-DE" sz="1200" u="sng" dirty="0" err="1"/>
              <a:t>for</a:t>
            </a:r>
            <a:r>
              <a:rPr lang="de-DE" sz="1200" u="sng" dirty="0"/>
              <a:t> </a:t>
            </a:r>
            <a:r>
              <a:rPr lang="de-DE" sz="1200" u="sng" dirty="0" err="1"/>
              <a:t>EKE_LIN_RGB_m_Adapterleitungssatz</a:t>
            </a:r>
            <a:r>
              <a:rPr lang="de-DE" sz="1200" u="sng" dirty="0"/>
              <a:t> </a:t>
            </a:r>
            <a:r>
              <a:rPr lang="de-DE" sz="1200" u="sng" dirty="0" err="1"/>
              <a:t>to</a:t>
            </a:r>
            <a:r>
              <a:rPr lang="de-DE" sz="1200" u="sng" dirty="0"/>
              <a:t> Zrenjanin ZRE </a:t>
            </a:r>
            <a:r>
              <a:rPr lang="de-DE" sz="1200" u="sng" dirty="0" err="1"/>
              <a:t>Serbia</a:t>
            </a:r>
            <a:r>
              <a:rPr lang="de-DE" sz="1200" u="sng" dirty="0"/>
              <a:t> via HOST and </a:t>
            </a:r>
            <a:r>
              <a:rPr lang="de-DE" sz="1200" u="sng" dirty="0" err="1"/>
              <a:t>return</a:t>
            </a:r>
            <a:r>
              <a:rPr lang="de-DE" sz="1200" u="sng" dirty="0"/>
              <a:t> </a:t>
            </a:r>
            <a:endParaRPr lang="de-DE" sz="1200" dirty="0"/>
          </a:p>
          <a:p>
            <a:pPr algn="ctr">
              <a:spcBef>
                <a:spcPts val="0"/>
              </a:spcBef>
            </a:pPr>
            <a:r>
              <a:rPr lang="de-DE" sz="1200" dirty="0"/>
              <a:t>(</a:t>
            </a:r>
            <a:r>
              <a:rPr lang="de-DE" sz="1200" dirty="0" err="1"/>
              <a:t>contact</a:t>
            </a:r>
            <a:r>
              <a:rPr lang="de-DE" sz="1200" dirty="0"/>
              <a:t> Mr. Tilo Saupe) – </a:t>
            </a:r>
            <a:r>
              <a:rPr lang="de-DE" sz="1200" dirty="0" err="1"/>
              <a:t>similar</a:t>
            </a:r>
            <a:r>
              <a:rPr lang="de-DE" sz="1200" dirty="0"/>
              <a:t> </a:t>
            </a:r>
            <a:r>
              <a:rPr lang="de-DE" sz="1200" dirty="0" err="1"/>
              <a:t>Cahul</a:t>
            </a:r>
            <a:r>
              <a:rPr lang="de-DE" sz="1200" dirty="0"/>
              <a:t> </a:t>
            </a:r>
            <a:r>
              <a:rPr lang="de-DE" sz="1200" dirty="0" err="1"/>
              <a:t>Process</a:t>
            </a:r>
            <a:r>
              <a:rPr lang="de-DE" sz="1200" dirty="0"/>
              <a:t>?</a:t>
            </a:r>
            <a:endParaRPr lang="de-DE" sz="900" dirty="0">
              <a:solidFill>
                <a:srgbClr val="E72D34"/>
              </a:solidFill>
            </a:endParaRP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E59473C1-E079-4D28-B926-B446AA548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7978" y="4319980"/>
            <a:ext cx="1389907" cy="36101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0E106BC-590B-4FF5-887B-F3F3684CD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106" y="3032344"/>
            <a:ext cx="8790915" cy="3200683"/>
          </a:xfrm>
          <a:prstGeom prst="rect">
            <a:avLst/>
          </a:prstGeom>
        </p:spPr>
      </p:pic>
      <p:sp>
        <p:nvSpPr>
          <p:cNvPr id="44" name="Textfeld 43">
            <a:extLst>
              <a:ext uri="{FF2B5EF4-FFF2-40B4-BE49-F238E27FC236}">
                <a16:creationId xmlns:a16="http://schemas.microsoft.com/office/drawing/2014/main" id="{6A676DA8-45FA-470D-A307-58F08A4AE4E4}"/>
              </a:ext>
            </a:extLst>
          </p:cNvPr>
          <p:cNvSpPr txBox="1"/>
          <p:nvPr/>
        </p:nvSpPr>
        <p:spPr>
          <a:xfrm>
            <a:off x="9618059" y="3887442"/>
            <a:ext cx="175208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dirty="0"/>
              <a:t>14 </a:t>
            </a:r>
            <a:r>
              <a:rPr lang="de-DE" dirty="0" err="1"/>
              <a:t>components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32D66BE-3C2B-45A5-8248-69890E079136}"/>
              </a:ext>
            </a:extLst>
          </p:cNvPr>
          <p:cNvSpPr/>
          <p:nvPr/>
        </p:nvSpPr>
        <p:spPr>
          <a:xfrm>
            <a:off x="2109457" y="1323662"/>
            <a:ext cx="8084745" cy="1418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1789C1A-7502-42DD-B32E-A87F98204A2C}"/>
              </a:ext>
            </a:extLst>
          </p:cNvPr>
          <p:cNvSpPr/>
          <p:nvPr/>
        </p:nvSpPr>
        <p:spPr>
          <a:xfrm>
            <a:off x="2237988" y="1171891"/>
            <a:ext cx="7671592" cy="15079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DC487C5-CF4F-4057-B284-09631E60FF68}"/>
              </a:ext>
            </a:extLst>
          </p:cNvPr>
          <p:cNvGrpSpPr/>
          <p:nvPr/>
        </p:nvGrpSpPr>
        <p:grpSpPr>
          <a:xfrm>
            <a:off x="2616739" y="1289143"/>
            <a:ext cx="1332096" cy="1107677"/>
            <a:chOff x="2771036" y="1379728"/>
            <a:chExt cx="1332096" cy="1107677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ED9D43F5-966D-4F3B-BE0C-174BC5F7A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43465" y="1600287"/>
              <a:ext cx="1187238" cy="887118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87DEB387-E9AA-4097-9B10-FBCFA9E9F7F9}"/>
                </a:ext>
              </a:extLst>
            </p:cNvPr>
            <p:cNvSpPr txBox="1"/>
            <p:nvPr/>
          </p:nvSpPr>
          <p:spPr>
            <a:xfrm>
              <a:off x="2771036" y="1379728"/>
              <a:ext cx="133209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0"/>
                </a:spcBef>
              </a:pPr>
              <a:r>
                <a:rPr lang="de-DE" sz="1600" dirty="0"/>
                <a:t>A0009000032 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AEB5F85-9B5F-4CAA-BA7B-04DA49BFFCB9}"/>
              </a:ext>
            </a:extLst>
          </p:cNvPr>
          <p:cNvGrpSpPr/>
          <p:nvPr/>
        </p:nvGrpSpPr>
        <p:grpSpPr>
          <a:xfrm>
            <a:off x="8338979" y="1265637"/>
            <a:ext cx="1309614" cy="1081012"/>
            <a:chOff x="8493276" y="1356222"/>
            <a:chExt cx="1309614" cy="1081012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D6F56B27-2B33-48D2-B9ED-9E26C65F2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93276" y="1569883"/>
              <a:ext cx="1309614" cy="867351"/>
            </a:xfrm>
            <a:prstGeom prst="rect">
              <a:avLst/>
            </a:prstGeom>
          </p:spPr>
        </p:pic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E4AE4BD0-CA67-46F2-9472-86A9183E793A}"/>
                </a:ext>
              </a:extLst>
            </p:cNvPr>
            <p:cNvSpPr txBox="1"/>
            <p:nvPr/>
          </p:nvSpPr>
          <p:spPr>
            <a:xfrm>
              <a:off x="8528502" y="1356222"/>
              <a:ext cx="127438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0"/>
                </a:spcBef>
              </a:pPr>
              <a:r>
                <a:rPr lang="de-DE" sz="1600" dirty="0"/>
                <a:t>A0009000132</a:t>
              </a:r>
            </a:p>
          </p:txBody>
        </p:sp>
      </p:grpSp>
      <p:sp>
        <p:nvSpPr>
          <p:cNvPr id="52" name="Textfeld 51">
            <a:extLst>
              <a:ext uri="{FF2B5EF4-FFF2-40B4-BE49-F238E27FC236}">
                <a16:creationId xmlns:a16="http://schemas.microsoft.com/office/drawing/2014/main" id="{BC5322D6-AB81-4F1A-B84F-3370B96A090D}"/>
              </a:ext>
            </a:extLst>
          </p:cNvPr>
          <p:cNvSpPr txBox="1"/>
          <p:nvPr/>
        </p:nvSpPr>
        <p:spPr>
          <a:xfrm>
            <a:off x="7578878" y="2426439"/>
            <a:ext cx="234833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/>
              <a:t>HOST </a:t>
            </a:r>
            <a:r>
              <a:rPr lang="de-DE" sz="1400" dirty="0" err="1"/>
              <a:t>production</a:t>
            </a:r>
            <a:r>
              <a:rPr lang="de-DE" sz="1400" dirty="0"/>
              <a:t> E6 ZRE ES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7F496F12-38E0-4890-A5BF-9F9B816F768C}"/>
              </a:ext>
            </a:extLst>
          </p:cNvPr>
          <p:cNvSpPr txBox="1"/>
          <p:nvPr/>
        </p:nvSpPr>
        <p:spPr>
          <a:xfrm>
            <a:off x="9618059" y="5643811"/>
            <a:ext cx="188068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/>
              <a:t>HOST </a:t>
            </a:r>
            <a:r>
              <a:rPr lang="de-DE" sz="1400" dirty="0" err="1"/>
              <a:t>production</a:t>
            </a:r>
            <a:r>
              <a:rPr lang="de-DE" sz="1400" dirty="0"/>
              <a:t> 83 TEM ES</a:t>
            </a:r>
          </a:p>
        </p:txBody>
      </p:sp>
      <p:sp>
        <p:nvSpPr>
          <p:cNvPr id="21" name="Pfeil: nach links und oben 20">
            <a:extLst>
              <a:ext uri="{FF2B5EF4-FFF2-40B4-BE49-F238E27FC236}">
                <a16:creationId xmlns:a16="http://schemas.microsoft.com/office/drawing/2014/main" id="{8F4CBEE6-6949-43B6-B1E0-B2D50ED5E54C}"/>
              </a:ext>
            </a:extLst>
          </p:cNvPr>
          <p:cNvSpPr/>
          <p:nvPr/>
        </p:nvSpPr>
        <p:spPr>
          <a:xfrm rot="16200000">
            <a:off x="10331722" y="2032699"/>
            <a:ext cx="1114867" cy="725928"/>
          </a:xfrm>
          <a:prstGeom prst="left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98496127-F4C1-49A7-9CEA-51CDC672C900}"/>
              </a:ext>
            </a:extLst>
          </p:cNvPr>
          <p:cNvSpPr txBox="1"/>
          <p:nvPr/>
        </p:nvSpPr>
        <p:spPr>
          <a:xfrm>
            <a:off x="10562562" y="1479298"/>
            <a:ext cx="89607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/>
              <a:t>MM Supply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B260478-1D21-4AE4-A45B-58AB5B8E49F4}"/>
              </a:ext>
            </a:extLst>
          </p:cNvPr>
          <p:cNvSpPr txBox="1"/>
          <p:nvPr/>
        </p:nvSpPr>
        <p:spPr>
          <a:xfrm>
            <a:off x="393749" y="1385982"/>
            <a:ext cx="17424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>
                <a:solidFill>
                  <a:srgbClr val="E72D34"/>
                </a:solidFill>
              </a:rPr>
              <a:t>SD </a:t>
            </a:r>
            <a:r>
              <a:rPr lang="de-DE" sz="1400" dirty="0" err="1">
                <a:solidFill>
                  <a:srgbClr val="E72D34"/>
                </a:solidFill>
              </a:rPr>
              <a:t>Finished</a:t>
            </a:r>
            <a:r>
              <a:rPr lang="de-DE" sz="1400" dirty="0">
                <a:solidFill>
                  <a:srgbClr val="E72D34"/>
                </a:solidFill>
              </a:rPr>
              <a:t> </a:t>
            </a:r>
            <a:r>
              <a:rPr lang="de-DE" sz="1400" dirty="0" err="1">
                <a:solidFill>
                  <a:srgbClr val="E72D34"/>
                </a:solidFill>
              </a:rPr>
              <a:t>Product</a:t>
            </a:r>
            <a:r>
              <a:rPr lang="de-DE" sz="1400" dirty="0">
                <a:solidFill>
                  <a:srgbClr val="E72D34"/>
                </a:solidFill>
              </a:rPr>
              <a:t>?</a:t>
            </a:r>
          </a:p>
        </p:txBody>
      </p:sp>
      <p:sp>
        <p:nvSpPr>
          <p:cNvPr id="71" name="Pfeil: nach links und oben 70">
            <a:extLst>
              <a:ext uri="{FF2B5EF4-FFF2-40B4-BE49-F238E27FC236}">
                <a16:creationId xmlns:a16="http://schemas.microsoft.com/office/drawing/2014/main" id="{85E4D1CC-5A4C-4A6A-A371-7940C530DF52}"/>
              </a:ext>
            </a:extLst>
          </p:cNvPr>
          <p:cNvSpPr/>
          <p:nvPr/>
        </p:nvSpPr>
        <p:spPr>
          <a:xfrm rot="16200000" flipV="1">
            <a:off x="762090" y="1910610"/>
            <a:ext cx="1028273" cy="633979"/>
          </a:xfrm>
          <a:prstGeom prst="left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44451ACF-CF0D-4646-80C1-1A4D24E155D8}"/>
              </a:ext>
            </a:extLst>
          </p:cNvPr>
          <p:cNvSpPr txBox="1"/>
          <p:nvPr/>
        </p:nvSpPr>
        <p:spPr>
          <a:xfrm>
            <a:off x="9618059" y="6115232"/>
            <a:ext cx="21943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/>
              <a:t>HOST </a:t>
            </a:r>
            <a:r>
              <a:rPr lang="de-DE" sz="1400" dirty="0" err="1"/>
              <a:t>ordering</a:t>
            </a:r>
            <a:r>
              <a:rPr lang="de-DE" sz="1400" dirty="0"/>
              <a:t> C4 TEM ES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C724419-E857-4C85-8F2E-2D6D5E77D541}"/>
              </a:ext>
            </a:extLst>
          </p:cNvPr>
          <p:cNvSpPr txBox="1"/>
          <p:nvPr/>
        </p:nvSpPr>
        <p:spPr>
          <a:xfrm>
            <a:off x="107012" y="2737653"/>
            <a:ext cx="24155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400" dirty="0"/>
              <a:t>HOST Sales Plant 01 TEM ES</a:t>
            </a:r>
          </a:p>
        </p:txBody>
      </p:sp>
    </p:spTree>
    <p:extLst>
      <p:ext uri="{BB962C8B-B14F-4D97-AF65-F5344CB8AC3E}">
        <p14:creationId xmlns:p14="http://schemas.microsoft.com/office/powerpoint/2010/main" val="3960484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5.10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C89BD-BF87-45F2-8B82-AB94F8CFB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CBC068E0-7515-4EA6-91F5-FCBB949AB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7"/>
            <a:ext cx="9697138" cy="861319"/>
          </a:xfrm>
        </p:spPr>
        <p:txBody>
          <a:bodyPr/>
          <a:lstStyle/>
          <a:p>
            <a:r>
              <a:rPr lang="de-DE" dirty="0" err="1"/>
              <a:t>Highlevel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W214 AMB Project – Lights </a:t>
            </a:r>
            <a:r>
              <a:rPr lang="de-DE" dirty="0">
                <a:solidFill>
                  <a:srgbClr val="E72D34"/>
                </a:solidFill>
              </a:rPr>
              <a:t>1178 TEM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A887FBAB-860B-4E5F-9DDD-9AC0A5F822F8}"/>
              </a:ext>
            </a:extLst>
          </p:cNvPr>
          <p:cNvSpPr txBox="1"/>
          <p:nvPr/>
        </p:nvSpPr>
        <p:spPr>
          <a:xfrm>
            <a:off x="1159140" y="1048068"/>
            <a:ext cx="23770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/>
              <a:t>1 Variant </a:t>
            </a:r>
            <a:r>
              <a:rPr lang="de-DE" sz="1200" u="sng" dirty="0" err="1"/>
              <a:t>UL_LIN_RGBW_schwarz</a:t>
            </a:r>
            <a:endParaRPr lang="de-DE" sz="1200" u="sng" dirty="0"/>
          </a:p>
          <a:p>
            <a:pPr marL="28575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106237117-004 (#6)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0F64687-A2F8-4D80-9BB2-848B0FB8827F}"/>
              </a:ext>
            </a:extLst>
          </p:cNvPr>
          <p:cNvSpPr/>
          <p:nvPr/>
        </p:nvSpPr>
        <p:spPr>
          <a:xfrm>
            <a:off x="1015993" y="947162"/>
            <a:ext cx="3392785" cy="5281261"/>
          </a:xfrm>
          <a:prstGeom prst="rect">
            <a:avLst/>
          </a:prstGeom>
          <a:noFill/>
          <a:ln w="25400">
            <a:solidFill>
              <a:srgbClr val="5EB34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endParaRPr lang="de-DE" dirty="0" err="1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96123B90-83FA-4B5E-8F7F-A17CAE77D8E1}"/>
              </a:ext>
            </a:extLst>
          </p:cNvPr>
          <p:cNvSpPr txBox="1"/>
          <p:nvPr/>
        </p:nvSpPr>
        <p:spPr>
          <a:xfrm>
            <a:off x="4677648" y="5278484"/>
            <a:ext cx="2744964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chemeClr val="accent5"/>
                </a:solidFill>
              </a:rPr>
              <a:t>106237118-004 (Master #7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63476-002 UL_W5600K_S5</a:t>
            </a:r>
          </a:p>
          <a:p>
            <a:pPr algn="l">
              <a:spcBef>
                <a:spcPts val="0"/>
              </a:spcBef>
            </a:pP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90000553-001 </a:t>
            </a:r>
            <a:r>
              <a:rPr lang="de-DE" sz="11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itor</a:t>
            </a:r>
            <a:r>
              <a:rPr lang="de-DE" sz="11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75R_62.5mW 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200" dirty="0"/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40A50225-F5B2-4DA2-AF07-38E0C530F542}"/>
              </a:ext>
            </a:extLst>
          </p:cNvPr>
          <p:cNvSpPr txBox="1"/>
          <p:nvPr/>
        </p:nvSpPr>
        <p:spPr>
          <a:xfrm>
            <a:off x="8574591" y="5296853"/>
            <a:ext cx="2436172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u="sng" dirty="0">
                <a:solidFill>
                  <a:schemeClr val="accent5"/>
                </a:solidFill>
              </a:rPr>
              <a:t>(Production version#8)</a:t>
            </a:r>
          </a:p>
          <a:p>
            <a:pPr>
              <a:spcBef>
                <a:spcPts val="0"/>
              </a:spcBef>
            </a:pPr>
            <a:r>
              <a:rPr lang="de-DE" sz="1200" dirty="0"/>
              <a:t>300063477-002 UL_W5600K_T0 </a:t>
            </a:r>
            <a:r>
              <a:rPr lang="de-DE" sz="1100" b="0" i="0" u="none" strike="noStrike" dirty="0">
                <a:effectLst/>
                <a:latin typeface="Calibri" panose="020F0502020204030204" pitchFamily="34" charset="0"/>
              </a:rPr>
              <a:t>590000554-001 </a:t>
            </a:r>
            <a:r>
              <a:rPr lang="de-DE" sz="1100" b="0" i="0" u="none" strike="noStrike" dirty="0" err="1">
                <a:effectLst/>
                <a:latin typeface="Calibri" panose="020F0502020204030204" pitchFamily="34" charset="0"/>
              </a:rPr>
              <a:t>Resitor</a:t>
            </a:r>
            <a:r>
              <a:rPr lang="de-DE" sz="1100" b="0" i="0" u="none" strike="noStrike" dirty="0">
                <a:effectLst/>
                <a:latin typeface="Calibri" panose="020F0502020204030204" pitchFamily="34" charset="0"/>
              </a:rPr>
              <a:t> 82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latin typeface="Calibri" panose="020F0502020204030204" pitchFamily="34" charset="0"/>
              </a:rPr>
              <a:t>Rutronik</a:t>
            </a:r>
            <a:endParaRPr lang="de-DE" sz="1100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latin typeface="Calibri" panose="020F0502020204030204" pitchFamily="34" charset="0"/>
              </a:rPr>
              <a:t>One</a:t>
            </a:r>
            <a:r>
              <a:rPr lang="de-DE" sz="1100" dirty="0"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latin typeface="Calibri" panose="020F0502020204030204" pitchFamily="34" charset="0"/>
              </a:rPr>
              <a:t>Direct</a:t>
            </a:r>
            <a:endParaRPr lang="de-DE" sz="12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1EA9F35B-39B9-4C78-B7C2-E2F33F7A9B83}"/>
              </a:ext>
            </a:extLst>
          </p:cNvPr>
          <p:cNvSpPr/>
          <p:nvPr/>
        </p:nvSpPr>
        <p:spPr>
          <a:xfrm>
            <a:off x="4484960" y="947161"/>
            <a:ext cx="6709917" cy="5281261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4C8AF0B6-1739-400D-A24F-6431E42F8CB0}"/>
              </a:ext>
            </a:extLst>
          </p:cNvPr>
          <p:cNvSpPr txBox="1"/>
          <p:nvPr/>
        </p:nvSpPr>
        <p:spPr>
          <a:xfrm>
            <a:off x="5781784" y="4868534"/>
            <a:ext cx="259455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 err="1">
                <a:solidFill>
                  <a:srgbClr val="FF0000"/>
                </a:solidFill>
              </a:rPr>
              <a:t>Difference</a:t>
            </a:r>
            <a:r>
              <a:rPr lang="de-DE" sz="1200" u="sng" dirty="0">
                <a:solidFill>
                  <a:srgbClr val="FF0000"/>
                </a:solidFill>
              </a:rPr>
              <a:t> ELFE </a:t>
            </a:r>
            <a:r>
              <a:rPr lang="de-DE" sz="1200" u="sng" dirty="0" err="1">
                <a:solidFill>
                  <a:srgbClr val="FF0000"/>
                </a:solidFill>
              </a:rPr>
              <a:t>resitor</a:t>
            </a:r>
            <a:r>
              <a:rPr lang="de-DE" sz="1200" u="sng" dirty="0">
                <a:solidFill>
                  <a:srgbClr val="FF0000"/>
                </a:solidFill>
              </a:rPr>
              <a:t> BOP &amp; BOM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3189BD0A-30B7-4AE6-BDD6-25F5349A48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713" y="1397330"/>
            <a:ext cx="1133933" cy="1467443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D265C73B-EB5C-4AEF-833F-176679C70E6C}"/>
              </a:ext>
            </a:extLst>
          </p:cNvPr>
          <p:cNvSpPr txBox="1"/>
          <p:nvPr/>
        </p:nvSpPr>
        <p:spPr>
          <a:xfrm>
            <a:off x="5951502" y="1081527"/>
            <a:ext cx="281788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defRPr sz="1200" u="sng">
                <a:solidFill>
                  <a:srgbClr val="FF0000"/>
                </a:solidFill>
              </a:defRPr>
            </a:lvl1pPr>
          </a:lstStyle>
          <a:p>
            <a:r>
              <a:rPr lang="de-DE" dirty="0"/>
              <a:t>2 </a:t>
            </a:r>
            <a:r>
              <a:rPr lang="de-DE" dirty="0" err="1"/>
              <a:t>Variants</a:t>
            </a:r>
            <a:r>
              <a:rPr lang="de-DE" dirty="0"/>
              <a:t> </a:t>
            </a:r>
            <a:r>
              <a:rPr lang="pl-PL" dirty="0"/>
              <a:t>UL_W5600K_Kalt_schwarz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106237118-004 (</a:t>
            </a:r>
            <a:r>
              <a:rPr lang="de-DE" u="none" dirty="0" err="1"/>
              <a:t>Productionversion</a:t>
            </a:r>
            <a:r>
              <a:rPr lang="de-DE" u="none" dirty="0"/>
              <a:t> #7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(Production </a:t>
            </a:r>
            <a:r>
              <a:rPr lang="de-DE" u="none" dirty="0" err="1"/>
              <a:t>version</a:t>
            </a:r>
            <a:r>
              <a:rPr lang="de-DE" u="none" dirty="0"/>
              <a:t> #8)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734BDA94-700E-4EC1-B3D2-94B0FD9232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2418" y="1048068"/>
            <a:ext cx="1368345" cy="13207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A3B51860-8F51-424C-BECF-55541C9F3A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8435" y="4510843"/>
            <a:ext cx="490073" cy="254838"/>
          </a:xfrm>
          <a:prstGeom prst="rect">
            <a:avLst/>
          </a:prstGeom>
        </p:spPr>
      </p:pic>
      <p:sp>
        <p:nvSpPr>
          <p:cNvPr id="37" name="Gewitterblitz 36">
            <a:extLst>
              <a:ext uri="{FF2B5EF4-FFF2-40B4-BE49-F238E27FC236}">
                <a16:creationId xmlns:a16="http://schemas.microsoft.com/office/drawing/2014/main" id="{A050AB9D-2B8B-490B-B7F4-9958C707C7C4}"/>
              </a:ext>
            </a:extLst>
          </p:cNvPr>
          <p:cNvSpPr/>
          <p:nvPr/>
        </p:nvSpPr>
        <p:spPr>
          <a:xfrm>
            <a:off x="10084964" y="4379939"/>
            <a:ext cx="419449" cy="324424"/>
          </a:xfrm>
          <a:prstGeom prst="lightningBol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8" name="Pfeil: nach oben gekrümmt 37">
            <a:extLst>
              <a:ext uri="{FF2B5EF4-FFF2-40B4-BE49-F238E27FC236}">
                <a16:creationId xmlns:a16="http://schemas.microsoft.com/office/drawing/2014/main" id="{7E15E13B-7A20-45DA-B325-E910FB7A38A4}"/>
              </a:ext>
            </a:extLst>
          </p:cNvPr>
          <p:cNvSpPr/>
          <p:nvPr/>
        </p:nvSpPr>
        <p:spPr>
          <a:xfrm rot="19602930">
            <a:off x="8618206" y="4822627"/>
            <a:ext cx="935821" cy="369332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3D660B0-116D-4220-81FB-D44458F48BA3}"/>
              </a:ext>
            </a:extLst>
          </p:cNvPr>
          <p:cNvSpPr txBox="1"/>
          <p:nvPr/>
        </p:nvSpPr>
        <p:spPr>
          <a:xfrm>
            <a:off x="9517951" y="3755281"/>
            <a:ext cx="8354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dirty="0" err="1"/>
              <a:t>Rutronik</a:t>
            </a:r>
            <a:endParaRPr lang="de-DE" sz="120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E9F4CE1-FCEE-4A32-B4A8-07FBEDB5EAE6}"/>
              </a:ext>
            </a:extLst>
          </p:cNvPr>
          <p:cNvSpPr txBox="1"/>
          <p:nvPr/>
        </p:nvSpPr>
        <p:spPr>
          <a:xfrm>
            <a:off x="6080658" y="4305760"/>
            <a:ext cx="1996808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 err="1">
                <a:solidFill>
                  <a:srgbClr val="FF0000"/>
                </a:solidFill>
              </a:rPr>
              <a:t>Pls</a:t>
            </a:r>
            <a:r>
              <a:rPr lang="de-DE" sz="1050" dirty="0">
                <a:solidFill>
                  <a:srgbClr val="FF0000"/>
                </a:solidFill>
              </a:rPr>
              <a:t>. </a:t>
            </a:r>
            <a:r>
              <a:rPr lang="de-DE" sz="1050" dirty="0" err="1">
                <a:solidFill>
                  <a:srgbClr val="FF0000"/>
                </a:solidFill>
              </a:rPr>
              <a:t>add</a:t>
            </a:r>
            <a:r>
              <a:rPr lang="de-DE" sz="1050" dirty="0">
                <a:solidFill>
                  <a:srgbClr val="FF0000"/>
                </a:solidFill>
              </a:rPr>
              <a:t> 2nd </a:t>
            </a:r>
            <a:r>
              <a:rPr lang="de-DE" sz="1050" dirty="0" err="1">
                <a:solidFill>
                  <a:srgbClr val="FF0000"/>
                </a:solidFill>
              </a:rPr>
              <a:t>Resitor</a:t>
            </a:r>
            <a:r>
              <a:rPr lang="de-DE" sz="1050" dirty="0">
                <a:solidFill>
                  <a:srgbClr val="FF0000"/>
                </a:solidFill>
              </a:rPr>
              <a:t> 554 in Master Production Version #7!!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D90142-86B4-4647-A138-B17FA0766B6D}"/>
              </a:ext>
            </a:extLst>
          </p:cNvPr>
          <p:cNvSpPr txBox="1"/>
          <p:nvPr/>
        </p:nvSpPr>
        <p:spPr>
          <a:xfrm>
            <a:off x="9503092" y="4865258"/>
            <a:ext cx="1255152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Manual </a:t>
            </a:r>
            <a:r>
              <a:rPr lang="de-DE" sz="1050" dirty="0" err="1">
                <a:solidFill>
                  <a:srgbClr val="FF0000"/>
                </a:solidFill>
              </a:rPr>
              <a:t>assignment</a:t>
            </a:r>
            <a:endParaRPr lang="de-DE" sz="1050" dirty="0">
              <a:solidFill>
                <a:srgbClr val="FF0000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ELFE </a:t>
            </a:r>
            <a:r>
              <a:rPr lang="de-DE" sz="1050" dirty="0" err="1">
                <a:solidFill>
                  <a:srgbClr val="FF0000"/>
                </a:solidFill>
              </a:rPr>
              <a:t>part</a:t>
            </a:r>
            <a:r>
              <a:rPr lang="de-DE" sz="1050" dirty="0">
                <a:solidFill>
                  <a:srgbClr val="FF0000"/>
                </a:solidFill>
              </a:rPr>
              <a:t> </a:t>
            </a:r>
            <a:r>
              <a:rPr lang="de-DE" sz="1050" dirty="0" err="1">
                <a:solidFill>
                  <a:srgbClr val="FF0000"/>
                </a:solidFill>
              </a:rPr>
              <a:t>to</a:t>
            </a:r>
            <a:r>
              <a:rPr lang="de-DE" sz="1050" dirty="0">
                <a:solidFill>
                  <a:srgbClr val="FF0000"/>
                </a:solidFill>
              </a:rPr>
              <a:t> FAUF?!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AE357C2-5E5E-48DE-9A4C-18E27571638A}"/>
              </a:ext>
            </a:extLst>
          </p:cNvPr>
          <p:cNvCxnSpPr>
            <a:cxnSpLocks/>
            <a:stCxn id="48" idx="1"/>
            <a:endCxn id="22" idx="1"/>
          </p:cNvCxnSpPr>
          <p:nvPr/>
        </p:nvCxnSpPr>
        <p:spPr>
          <a:xfrm>
            <a:off x="8768900" y="3561763"/>
            <a:ext cx="749051" cy="2858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0B04B516-D304-401A-A03C-E61BDA6E4A82}"/>
              </a:ext>
            </a:extLst>
          </p:cNvPr>
          <p:cNvSpPr txBox="1"/>
          <p:nvPr/>
        </p:nvSpPr>
        <p:spPr>
          <a:xfrm>
            <a:off x="9329589" y="2477535"/>
            <a:ext cx="16811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nual </a:t>
            </a:r>
            <a:r>
              <a:rPr lang="de-DE" sz="1200" dirty="0" err="1">
                <a:solidFill>
                  <a:srgbClr val="FF0000"/>
                </a:solidFill>
              </a:rPr>
              <a:t>Indication</a:t>
            </a:r>
            <a:r>
              <a:rPr lang="de-DE" sz="1200" dirty="0">
                <a:solidFill>
                  <a:srgbClr val="FF0000"/>
                </a:solidFill>
              </a:rPr>
              <a:t> on </a:t>
            </a:r>
            <a:r>
              <a:rPr lang="de-DE" sz="1200" dirty="0" err="1">
                <a:solidFill>
                  <a:srgbClr val="FF0000"/>
                </a:solidFill>
              </a:rPr>
              <a:t>the</a:t>
            </a:r>
            <a:r>
              <a:rPr lang="de-DE" sz="1200" dirty="0">
                <a:solidFill>
                  <a:srgbClr val="FF0000"/>
                </a:solidFill>
              </a:rPr>
              <a:t> LED-Comp. </a:t>
            </a:r>
            <a:r>
              <a:rPr lang="de-DE" sz="1200" dirty="0" err="1">
                <a:solidFill>
                  <a:srgbClr val="FF0000"/>
                </a:solidFill>
              </a:rPr>
              <a:t>from</a:t>
            </a:r>
            <a:r>
              <a:rPr lang="de-DE" sz="1200" dirty="0">
                <a:solidFill>
                  <a:srgbClr val="FF0000"/>
                </a:solidFill>
              </a:rPr>
              <a:t> supplier Avnet: </a:t>
            </a:r>
          </a:p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t.no. 590005220-001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7FCB275D-0113-4F49-92F3-DDC70DAAD254}"/>
              </a:ext>
            </a:extLst>
          </p:cNvPr>
          <p:cNvCxnSpPr>
            <a:cxnSpLocks/>
            <a:stCxn id="40" idx="2"/>
            <a:endCxn id="22" idx="0"/>
          </p:cNvCxnSpPr>
          <p:nvPr/>
        </p:nvCxnSpPr>
        <p:spPr>
          <a:xfrm flipH="1">
            <a:off x="9935660" y="3216199"/>
            <a:ext cx="234516" cy="5390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4A5BF01D-4CAD-445A-AEED-9B07EE4B9E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0962" y="3074380"/>
            <a:ext cx="3283771" cy="2611118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9D85843E-E6B7-43D1-92CE-D2663DD766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1671" y="1916674"/>
            <a:ext cx="4085136" cy="2269520"/>
          </a:xfrm>
          <a:prstGeom prst="rect">
            <a:avLst/>
          </a:prstGeom>
        </p:spPr>
      </p:pic>
      <p:sp>
        <p:nvSpPr>
          <p:cNvPr id="48" name="Geschweifte Klammer rechts 47">
            <a:extLst>
              <a:ext uri="{FF2B5EF4-FFF2-40B4-BE49-F238E27FC236}">
                <a16:creationId xmlns:a16="http://schemas.microsoft.com/office/drawing/2014/main" id="{FF27F2B2-C730-4022-9B50-DB980506CE79}"/>
              </a:ext>
            </a:extLst>
          </p:cNvPr>
          <p:cNvSpPr/>
          <p:nvPr/>
        </p:nvSpPr>
        <p:spPr>
          <a:xfrm>
            <a:off x="8643565" y="3368245"/>
            <a:ext cx="125335" cy="387036"/>
          </a:xfrm>
          <a:prstGeom prst="rightBrac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6930D786-17E9-4E61-9CCE-97B153D6A49C}"/>
              </a:ext>
            </a:extLst>
          </p:cNvPr>
          <p:cNvCxnSpPr>
            <a:cxnSpLocks/>
            <a:stCxn id="41" idx="3"/>
            <a:endCxn id="40" idx="2"/>
          </p:cNvCxnSpPr>
          <p:nvPr/>
        </p:nvCxnSpPr>
        <p:spPr>
          <a:xfrm>
            <a:off x="8646807" y="3051434"/>
            <a:ext cx="1523369" cy="164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74331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AA07C9-2345-4C1B-92E4-C348F1EDFD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5.10.2021    Introduction SAP | Becker Werner OL1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6ADBC31-DA2E-47F5-B8A1-9C92748D0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C89BD-BF87-45F2-8B82-AB94F8CFB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CBC068E0-7515-4EA6-91F5-FCBB949AB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94837"/>
            <a:ext cx="9697138" cy="861319"/>
          </a:xfrm>
        </p:spPr>
        <p:txBody>
          <a:bodyPr/>
          <a:lstStyle/>
          <a:p>
            <a:r>
              <a:rPr lang="de-DE" dirty="0" err="1"/>
              <a:t>Highlevel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W214 AMB Project – Lights </a:t>
            </a:r>
            <a:r>
              <a:rPr lang="de-DE" dirty="0">
                <a:solidFill>
                  <a:srgbClr val="E72D34"/>
                </a:solidFill>
              </a:rPr>
              <a:t>1178 TEM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96123B90-83FA-4B5E-8F7F-A17CAE77D8E1}"/>
              </a:ext>
            </a:extLst>
          </p:cNvPr>
          <p:cNvSpPr txBox="1"/>
          <p:nvPr/>
        </p:nvSpPr>
        <p:spPr>
          <a:xfrm>
            <a:off x="1174428" y="5294816"/>
            <a:ext cx="2419800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E72D34"/>
                </a:solidFill>
              </a:rPr>
              <a:t>106237119-004 (Master #9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63470-002 UL_W3000K_S5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590000553-001 75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1EA9F35B-39B9-4C78-B7C2-E2F33F7A9B83}"/>
              </a:ext>
            </a:extLst>
          </p:cNvPr>
          <p:cNvSpPr/>
          <p:nvPr/>
        </p:nvSpPr>
        <p:spPr>
          <a:xfrm>
            <a:off x="1113209" y="953840"/>
            <a:ext cx="6147670" cy="5281261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4C8AF0B6-1739-400D-A24F-6431E42F8CB0}"/>
              </a:ext>
            </a:extLst>
          </p:cNvPr>
          <p:cNvSpPr txBox="1"/>
          <p:nvPr/>
        </p:nvSpPr>
        <p:spPr>
          <a:xfrm>
            <a:off x="2064810" y="4352845"/>
            <a:ext cx="259455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u="sng" dirty="0" err="1">
                <a:solidFill>
                  <a:srgbClr val="FF0000"/>
                </a:solidFill>
              </a:rPr>
              <a:t>Difference</a:t>
            </a:r>
            <a:r>
              <a:rPr lang="de-DE" sz="1200" u="sng" dirty="0">
                <a:solidFill>
                  <a:srgbClr val="FF0000"/>
                </a:solidFill>
              </a:rPr>
              <a:t> ELFE  </a:t>
            </a:r>
            <a:r>
              <a:rPr lang="de-DE" sz="1200" u="sng" dirty="0" err="1">
                <a:solidFill>
                  <a:srgbClr val="FF0000"/>
                </a:solidFill>
              </a:rPr>
              <a:t>resitor</a:t>
            </a:r>
            <a:r>
              <a:rPr lang="de-DE" sz="1200" u="sng" dirty="0">
                <a:solidFill>
                  <a:srgbClr val="FF0000"/>
                </a:solidFill>
              </a:rPr>
              <a:t> BOP &amp; BOM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D265C73B-EB5C-4AEF-833F-176679C70E6C}"/>
              </a:ext>
            </a:extLst>
          </p:cNvPr>
          <p:cNvSpPr txBox="1"/>
          <p:nvPr/>
        </p:nvSpPr>
        <p:spPr>
          <a:xfrm>
            <a:off x="1257954" y="1000831"/>
            <a:ext cx="272882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defRPr sz="1200" u="sng">
                <a:solidFill>
                  <a:srgbClr val="FF0000"/>
                </a:solidFill>
              </a:defRPr>
            </a:lvl1pPr>
          </a:lstStyle>
          <a:p>
            <a:r>
              <a:rPr lang="de-DE" dirty="0"/>
              <a:t>2 </a:t>
            </a:r>
            <a:r>
              <a:rPr lang="de-DE" dirty="0" err="1"/>
              <a:t>Variants</a:t>
            </a:r>
            <a:r>
              <a:rPr lang="de-DE" dirty="0"/>
              <a:t> </a:t>
            </a:r>
            <a:r>
              <a:rPr lang="pl-PL" dirty="0"/>
              <a:t>UL_W3000K_Warm_</a:t>
            </a:r>
            <a:r>
              <a:rPr lang="de-DE" dirty="0"/>
              <a:t>schwar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u="none" dirty="0"/>
              <a:t>106237119-004 </a:t>
            </a:r>
            <a:r>
              <a:rPr lang="de-DE" u="none" dirty="0" err="1"/>
              <a:t>Warm_schwarz</a:t>
            </a:r>
            <a:r>
              <a:rPr lang="de-DE" u="none" dirty="0"/>
              <a:t> (#9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u="none" dirty="0"/>
              <a:t>300044495-0</a:t>
            </a:r>
            <a:r>
              <a:rPr lang="de-DE" u="none" dirty="0"/>
              <a:t>03 </a:t>
            </a:r>
            <a:r>
              <a:rPr lang="pl-PL" u="none" dirty="0"/>
              <a:t>BR214_UL_Gehaeuse_W_schwarz</a:t>
            </a:r>
            <a:endParaRPr lang="de-DE" u="none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A3B51860-8F51-424C-BECF-55541C9F3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0765" y="3877718"/>
            <a:ext cx="490073" cy="254838"/>
          </a:xfrm>
          <a:prstGeom prst="rect">
            <a:avLst/>
          </a:prstGeom>
        </p:spPr>
      </p:pic>
      <p:sp>
        <p:nvSpPr>
          <p:cNvPr id="38" name="Pfeil: nach oben gekrümmt 37">
            <a:extLst>
              <a:ext uri="{FF2B5EF4-FFF2-40B4-BE49-F238E27FC236}">
                <a16:creationId xmlns:a16="http://schemas.microsoft.com/office/drawing/2014/main" id="{7E15E13B-7A20-45DA-B325-E910FB7A38A4}"/>
              </a:ext>
            </a:extLst>
          </p:cNvPr>
          <p:cNvSpPr/>
          <p:nvPr/>
        </p:nvSpPr>
        <p:spPr>
          <a:xfrm rot="19602930">
            <a:off x="4864150" y="4260511"/>
            <a:ext cx="935821" cy="369332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E339024-C6EB-4D1C-96FF-64172107F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165" y="1054948"/>
            <a:ext cx="1455457" cy="61340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1E65340-7AD5-490B-A20A-59668ADE5E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4427" y="2198092"/>
            <a:ext cx="3211095" cy="2017078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13E72CB5-1E7C-4601-A612-A9BEF5264A45}"/>
              </a:ext>
            </a:extLst>
          </p:cNvPr>
          <p:cNvSpPr txBox="1"/>
          <p:nvPr/>
        </p:nvSpPr>
        <p:spPr>
          <a:xfrm>
            <a:off x="3594228" y="5302683"/>
            <a:ext cx="2837666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u="sng" dirty="0">
                <a:solidFill>
                  <a:srgbClr val="E72D34"/>
                </a:solidFill>
              </a:rPr>
              <a:t>(Production Version #10)</a:t>
            </a:r>
          </a:p>
          <a:p>
            <a:pPr algn="l">
              <a:spcBef>
                <a:spcPts val="0"/>
              </a:spcBef>
            </a:pPr>
            <a:r>
              <a:rPr lang="de-DE" sz="1200" dirty="0"/>
              <a:t>300063471-002 UL_W3000K_S5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590000554-001 82R_62.5mW</a:t>
            </a:r>
          </a:p>
          <a:p>
            <a:pPr algn="l">
              <a:spcBef>
                <a:spcPts val="0"/>
              </a:spcBef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Supplier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Rutronik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On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-Time Electronic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Direct</a:t>
            </a:r>
            <a:endParaRPr lang="de-DE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1D2C5D8-8FA7-4072-99EC-BB5B0B7A316C}"/>
              </a:ext>
            </a:extLst>
          </p:cNvPr>
          <p:cNvSpPr txBox="1"/>
          <p:nvPr/>
        </p:nvSpPr>
        <p:spPr>
          <a:xfrm>
            <a:off x="5697138" y="4266168"/>
            <a:ext cx="1255152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Manual </a:t>
            </a:r>
            <a:r>
              <a:rPr lang="de-DE" sz="1050" dirty="0" err="1">
                <a:solidFill>
                  <a:srgbClr val="FF0000"/>
                </a:solidFill>
              </a:rPr>
              <a:t>assignment</a:t>
            </a:r>
            <a:endParaRPr lang="de-DE" sz="1050" dirty="0">
              <a:solidFill>
                <a:srgbClr val="FF0000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1050" dirty="0">
                <a:solidFill>
                  <a:srgbClr val="FF0000"/>
                </a:solidFill>
              </a:rPr>
              <a:t>ELFE </a:t>
            </a:r>
            <a:r>
              <a:rPr lang="de-DE" sz="1050" dirty="0" err="1">
                <a:solidFill>
                  <a:srgbClr val="FF0000"/>
                </a:solidFill>
              </a:rPr>
              <a:t>part</a:t>
            </a:r>
            <a:r>
              <a:rPr lang="de-DE" sz="1050" dirty="0">
                <a:solidFill>
                  <a:srgbClr val="FF0000"/>
                </a:solidFill>
              </a:rPr>
              <a:t> </a:t>
            </a:r>
            <a:r>
              <a:rPr lang="de-DE" sz="1050" dirty="0" err="1">
                <a:solidFill>
                  <a:srgbClr val="FF0000"/>
                </a:solidFill>
              </a:rPr>
              <a:t>to</a:t>
            </a:r>
            <a:r>
              <a:rPr lang="de-DE" sz="1050" dirty="0">
                <a:solidFill>
                  <a:srgbClr val="FF0000"/>
                </a:solidFill>
              </a:rPr>
              <a:t> FAUF?!</a:t>
            </a:r>
          </a:p>
        </p:txBody>
      </p:sp>
      <p:sp>
        <p:nvSpPr>
          <p:cNvPr id="29" name="Geschweifte Klammer rechts 28">
            <a:extLst>
              <a:ext uri="{FF2B5EF4-FFF2-40B4-BE49-F238E27FC236}">
                <a16:creationId xmlns:a16="http://schemas.microsoft.com/office/drawing/2014/main" id="{3E26C7F7-F37A-4AB6-8347-21DFDDBCE253}"/>
              </a:ext>
            </a:extLst>
          </p:cNvPr>
          <p:cNvSpPr/>
          <p:nvPr/>
        </p:nvSpPr>
        <p:spPr>
          <a:xfrm>
            <a:off x="4424540" y="3700481"/>
            <a:ext cx="125335" cy="254839"/>
          </a:xfrm>
          <a:prstGeom prst="rightBrace">
            <a:avLst/>
          </a:prstGeom>
          <a:ln w="222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FD46379-6D7E-44BC-82CF-F5522C53AC56}"/>
              </a:ext>
            </a:extLst>
          </p:cNvPr>
          <p:cNvSpPr txBox="1"/>
          <p:nvPr/>
        </p:nvSpPr>
        <p:spPr>
          <a:xfrm>
            <a:off x="4989141" y="3719493"/>
            <a:ext cx="8354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200" dirty="0" err="1"/>
              <a:t>Rutronik</a:t>
            </a:r>
            <a:endParaRPr lang="de-DE" sz="12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4D60B74-9647-446E-A536-3A9301A2BD71}"/>
              </a:ext>
            </a:extLst>
          </p:cNvPr>
          <p:cNvSpPr txBox="1"/>
          <p:nvPr/>
        </p:nvSpPr>
        <p:spPr>
          <a:xfrm>
            <a:off x="4750720" y="2700716"/>
            <a:ext cx="16811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nual </a:t>
            </a:r>
            <a:r>
              <a:rPr lang="de-DE" sz="1200" dirty="0" err="1">
                <a:solidFill>
                  <a:srgbClr val="FF0000"/>
                </a:solidFill>
              </a:rPr>
              <a:t>Indication</a:t>
            </a:r>
            <a:r>
              <a:rPr lang="de-DE" sz="1200" dirty="0">
                <a:solidFill>
                  <a:srgbClr val="FF0000"/>
                </a:solidFill>
              </a:rPr>
              <a:t> on </a:t>
            </a:r>
            <a:r>
              <a:rPr lang="de-DE" sz="1200" dirty="0" err="1">
                <a:solidFill>
                  <a:srgbClr val="FF0000"/>
                </a:solidFill>
              </a:rPr>
              <a:t>the</a:t>
            </a:r>
            <a:r>
              <a:rPr lang="de-DE" sz="1200" dirty="0">
                <a:solidFill>
                  <a:srgbClr val="FF0000"/>
                </a:solidFill>
              </a:rPr>
              <a:t> LED-Comp. </a:t>
            </a:r>
            <a:r>
              <a:rPr lang="de-DE" sz="1200" dirty="0" err="1">
                <a:solidFill>
                  <a:srgbClr val="FF0000"/>
                </a:solidFill>
              </a:rPr>
              <a:t>from</a:t>
            </a:r>
            <a:r>
              <a:rPr lang="de-DE" sz="1200" dirty="0">
                <a:solidFill>
                  <a:srgbClr val="FF0000"/>
                </a:solidFill>
              </a:rPr>
              <a:t> supplier Avnet: </a:t>
            </a:r>
          </a:p>
          <a:p>
            <a:pPr algn="l">
              <a:spcBef>
                <a:spcPts val="0"/>
              </a:spcBef>
            </a:pPr>
            <a:r>
              <a:rPr lang="de-DE" sz="1200" dirty="0">
                <a:solidFill>
                  <a:srgbClr val="FF0000"/>
                </a:solidFill>
              </a:rPr>
              <a:t>Mat.no. 590005221-001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6C5D943-FEC8-4DF5-BAB0-AC04792AE136}"/>
              </a:ext>
            </a:extLst>
          </p:cNvPr>
          <p:cNvCxnSpPr>
            <a:cxnSpLocks/>
            <a:stCxn id="29" idx="1"/>
            <a:endCxn id="30" idx="1"/>
          </p:cNvCxnSpPr>
          <p:nvPr/>
        </p:nvCxnSpPr>
        <p:spPr>
          <a:xfrm flipV="1">
            <a:off x="4549875" y="3811826"/>
            <a:ext cx="439266" cy="16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FE40C1D0-44F9-4852-9689-83FCFC48A253}"/>
              </a:ext>
            </a:extLst>
          </p:cNvPr>
          <p:cNvCxnSpPr>
            <a:cxnSpLocks/>
            <a:stCxn id="31" idx="2"/>
            <a:endCxn id="30" idx="0"/>
          </p:cNvCxnSpPr>
          <p:nvPr/>
        </p:nvCxnSpPr>
        <p:spPr>
          <a:xfrm flipH="1">
            <a:off x="5406850" y="3439380"/>
            <a:ext cx="184457" cy="28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0375EA28-A7F7-4B2A-A165-5473824C6EA0}"/>
              </a:ext>
            </a:extLst>
          </p:cNvPr>
          <p:cNvCxnSpPr>
            <a:cxnSpLocks/>
            <a:endCxn id="31" idx="2"/>
          </p:cNvCxnSpPr>
          <p:nvPr/>
        </p:nvCxnSpPr>
        <p:spPr>
          <a:xfrm flipV="1">
            <a:off x="4241419" y="3439380"/>
            <a:ext cx="1349888" cy="100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777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 Red"/>
  <p:tag name="ISFOXDOCUMENTCLASSIFICATIONVERSION" val="1"/>
  <p:tag name="ISFOXLABELINGONTITLEPAGESET" val="True"/>
  <p:tag name="ISFOXPRESENTATIONISLABELED" val="Internal: All rights reserved. Distribution within DRÄXLMAIER Group, customer and partners."/>
  <p:tag name="A71660D270C64F5BBB8F27F5E85BE6370" val="DOMFGDVB\BW00037391;d4c75f49-f1ee-485c-aa75-2c54e2ab5223;Internal;2021-04-19T08:06:42;;DRX|"/>
  <p:tag name="A71660D270C64F5BBB8F27F5E85BE630" val="1"/>
  <p:tag name="ISFOXLABELUSERINTERACTION" val="True"/>
  <p:tag name="ISFOXCLASSIFICATIONID" val="d4c75f49-f1ee-485c-aa75-2c54e2ab5223"/>
  <p:tag name="ISFOXCLASSIFICATIONNAME" val="Internal"/>
  <p:tag name="ISFOXPREFIX" val="DRX"/>
  <p:tag name="ISFOXSHOWCLASSIFICATIONREQUESTDIALOG" val="False"/>
  <p:tag name="ISFOXOLDCLASSIFICATIONID" val="d4c75f49-f1ee-485c-aa75-2c54e2ab5223"/>
  <p:tag name="ISFOXCLASSIFICATIONINKEYWORDS" val="Internal"/>
  <p:tag name="ISFOXDOVERSIONINGONSAV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inie;"/>
  <p:tag name="MIO_USER_INPUT_OPTIONAL" val=" "/>
  <p:tag name="MIO_USER_INPUT_FIXED" val=" 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raexlmaier">
  <a:themeElements>
    <a:clrScheme name="DRX 3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97AC"/>
      </a:accent1>
      <a:accent2>
        <a:srgbClr val="888E95"/>
      </a:accent2>
      <a:accent3>
        <a:srgbClr val="F8DA00"/>
      </a:accent3>
      <a:accent4>
        <a:srgbClr val="F28B00"/>
      </a:accent4>
      <a:accent5>
        <a:srgbClr val="E72D34"/>
      </a:accent5>
      <a:accent6>
        <a:srgbClr val="5EB342"/>
      </a:accent6>
      <a:hlink>
        <a:srgbClr val="0097AC"/>
      </a:hlink>
      <a:folHlink>
        <a:srgbClr val="888E95"/>
      </a:folHlink>
    </a:clrScheme>
    <a:fontScheme name="DR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RX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noFill/>
        </a:ln>
      </a:spPr>
      <a:bodyPr lIns="72000" tIns="72000" rIns="72000" bIns="7200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0"/>
          </a:spcBef>
          <a:defRPr dirty="0" err="1" smtClean="0"/>
        </a:defPPr>
      </a:lstStyle>
    </a:txDef>
  </a:objectDefaults>
  <a:extraClrSchemeLst/>
  <a:custClrLst>
    <a:custClr>
      <a:srgbClr val="FFFFFF"/>
    </a:custClr>
    <a:custClr name="DRÄXLMAIER Turquoise, darker 25%">
      <a:srgbClr val="006675"/>
    </a:custClr>
    <a:custClr>
      <a:srgbClr val="FFFFFF"/>
    </a:custClr>
    <a:custClr>
      <a:srgbClr val="FFFFFF"/>
    </a:custClr>
    <a:custClr name="Orange darker 25%">
      <a:srgbClr val="925800"/>
    </a:custClr>
    <a:custClr name="Red darker 25%">
      <a:srgbClr val="9F2322"/>
    </a:custClr>
    <a:custClr name="Green darker 25%">
      <a:srgbClr val="437E2F"/>
    </a:custClr>
    <a:custClr>
      <a:srgbClr val="FFFFFF"/>
    </a:custClr>
    <a:custClr>
      <a:srgbClr val="FFFFFF"/>
    </a:custClr>
    <a:custClr>
      <a:srgbClr val="FFFFFF"/>
    </a:custClr>
    <a:custClr name="Black">
      <a:srgbClr val="000000"/>
    </a:custClr>
    <a:custClr name="DRÄXLMAIER Turquoisee">
      <a:srgbClr val="0097AC"/>
    </a:custClr>
    <a:custClr name="DRÄXLMAIER Silver">
      <a:srgbClr val="888E95"/>
    </a:custClr>
    <a:custClr name="Yellow">
      <a:srgbClr val="F8DA00"/>
    </a:custClr>
    <a:custClr name="Orange">
      <a:srgbClr val="F28B00"/>
    </a:custClr>
    <a:custClr name="Red">
      <a:srgbClr val="E72D34"/>
    </a:custClr>
    <a:custClr name="Green">
      <a:srgbClr val="5EB342"/>
    </a:custClr>
    <a:custClr>
      <a:srgbClr val="B8860B"/>
    </a:custClr>
    <a:custClr>
      <a:srgbClr val="8B8B00"/>
    </a:custClr>
    <a:custClr>
      <a:srgbClr val="6D4C41"/>
    </a:custClr>
    <a:custClr name="Black 75%">
      <a:srgbClr val="404040"/>
    </a:custClr>
    <a:custClr name="DRÄXLMAIER Turquoise 75%">
      <a:srgbClr val="40B0C2"/>
    </a:custClr>
    <a:custClr name="DRÄXLMAIER Silver 75%">
      <a:srgbClr val="A6AAB0"/>
    </a:custClr>
    <a:custClr name="Yellow 75%">
      <a:srgbClr val="FAE343"/>
    </a:custClr>
    <a:custClr name="Orange 75%">
      <a:srgbClr val="F5A840"/>
    </a:custClr>
    <a:custClr name="Red 75%">
      <a:srgbClr val="EC5A57"/>
    </a:custClr>
    <a:custClr name="Green 75%">
      <a:srgbClr val="86C671"/>
    </a:custClr>
    <a:custClr name="75%">
      <a:srgbClr val="CAA448"/>
    </a:custClr>
    <a:custClr name="75%">
      <a:srgbClr val="A8A840"/>
    </a:custClr>
    <a:custClr name="75%">
      <a:srgbClr val="927971"/>
    </a:custClr>
    <a:custClr name="Black 50%">
      <a:srgbClr val="7F7F7F"/>
    </a:custClr>
    <a:custClr name="DRÄXLMAIER Turquoise 50%">
      <a:srgbClr val="7FCAD6"/>
    </a:custClr>
    <a:custClr name="DRÄXLMAIER Silver 50%">
      <a:srgbClr val="C3C6CA"/>
    </a:custClr>
    <a:custClr name="Yellow 50%">
      <a:srgbClr val="FBEC7F"/>
    </a:custClr>
    <a:custClr name="Orange 50%">
      <a:srgbClr val="F8C57F"/>
    </a:custClr>
    <a:custClr name="Red 50%">
      <a:srgbClr val="F18779"/>
    </a:custClr>
    <a:custClr name="Green 50%">
      <a:srgbClr val="AED9A0"/>
    </a:custClr>
    <a:custClr name="50%">
      <a:srgbClr val="DBC285"/>
    </a:custClr>
    <a:custClr name="50%">
      <a:srgbClr val="C5C57F"/>
    </a:custClr>
    <a:custClr name="50%">
      <a:srgbClr val="B6A5A0"/>
    </a:custClr>
    <a:custClr name="Black 25%">
      <a:srgbClr val="BFBFBF"/>
    </a:custClr>
    <a:custClr name="DRÄXLMAIER Turquoise 25%">
      <a:srgbClr val="BFE4EA"/>
    </a:custClr>
    <a:custClr name="DRÄXLMAIER Silver 25%">
      <a:srgbClr val="E1E3E4"/>
    </a:custClr>
    <a:custClr name="Yellow 25%">
      <a:srgbClr val="FDF6BF"/>
    </a:custClr>
    <a:custClr name="Orange 25%">
      <a:srgbClr val="FCE2BF"/>
    </a:custClr>
    <a:custClr name="Red 25%">
      <a:srgbClr val="F7B59C"/>
    </a:custClr>
    <a:custClr name="Green 25%">
      <a:srgbClr val="D7ECD0"/>
    </a:custClr>
    <a:custClr name="25%">
      <a:srgbClr val="EDE1C2"/>
    </a:custClr>
    <a:custClr name="25%">
      <a:srgbClr val="E2E2BF"/>
    </a:custClr>
    <a:custClr name="25%">
      <a:srgbClr val="DAD2CF"/>
    </a:custClr>
  </a:custClrLst>
  <a:extLst>
    <a:ext uri="{05A4C25C-085E-4340-85A3-A5531E510DB2}">
      <thm15:themeFamily xmlns:thm15="http://schemas.microsoft.com/office/thememl/2012/main" name="Draexlmaier_Template_2019-08-13.potx" id="{4D78CB5D-9F20-4081-A9BE-6ADBBADE84FD}" vid="{DDAFF772-0081-45F4-A255-2821C8689216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90</Words>
  <Application>Microsoft Office PowerPoint</Application>
  <PresentationFormat>Benutzerdefiniert</PresentationFormat>
  <Paragraphs>275</Paragraphs>
  <Slides>1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Arial</vt:lpstr>
      <vt:lpstr>Calibri</vt:lpstr>
      <vt:lpstr>Segoe UI</vt:lpstr>
      <vt:lpstr>Wingdings 3</vt:lpstr>
      <vt:lpstr>Draexlmaier</vt:lpstr>
      <vt:lpstr>Highlevel production 214 AMB Melexis/ Elmos 26.05.2023</vt:lpstr>
      <vt:lpstr>Highlevel timeline 214 AMB Melexis/ Elmos 26.05.2023</vt:lpstr>
      <vt:lpstr>78 Production Versions necessary</vt:lpstr>
      <vt:lpstr>AltItemGroup on final assembly for 50%50 quote</vt:lpstr>
      <vt:lpstr>PowerPoint-Präsentation</vt:lpstr>
      <vt:lpstr>Highlevel Structure W214 AMB Project – Connectors 1178 TEM</vt:lpstr>
      <vt:lpstr>Highlevel Structure W214 AMB Project – RGB Adapter 1178 TEM</vt:lpstr>
      <vt:lpstr>Highlevel Structure W214 AMB Project – Lights 1178 TEM</vt:lpstr>
      <vt:lpstr>Highlevel Structure W214 AMB Project – Lights 1178 TEM</vt:lpstr>
      <vt:lpstr>Highlevel Structure W214 AMB Project – Lights 1178 TEM</vt:lpstr>
      <vt:lpstr>Highlevel Structure W214 AMB Project – Lights 1178 TEM</vt:lpstr>
      <vt:lpstr>Example: BR214 106237118-004 UL_W5600K_Kalt_schwarz</vt:lpstr>
      <vt:lpstr>Example: BR214 106237114-00# EKE White-Steckerkorb</vt:lpstr>
      <vt:lpstr>Example: MFA2 White 190055733-012/-024</vt:lpstr>
      <vt:lpstr>PowerPoint-Präsentation</vt:lpstr>
      <vt:lpstr>PowerPoint-Präsentation</vt:lpstr>
    </vt:vector>
  </TitlesOfParts>
  <Company>DRAEXLMAIE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SAP</dc:title>
  <dc:creator>Becker Werner OL14</dc:creator>
  <cp:keywords>Internal;</cp:keywords>
  <cp:lastModifiedBy>Becker Werner OG11</cp:lastModifiedBy>
  <cp:revision>349</cp:revision>
  <cp:lastPrinted>2021-10-04T11:46:13Z</cp:lastPrinted>
  <dcterms:created xsi:type="dcterms:W3CDTF">2021-04-19T06:05:45Z</dcterms:created>
  <dcterms:modified xsi:type="dcterms:W3CDTF">2023-06-13T08:2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topic">
    <vt:lpwstr>Introduction SAP</vt:lpwstr>
  </property>
  <property fmtid="{D5CDD505-2E9C-101B-9397-08002B2CF9AE}" pid="4" name="firstlastname">
    <vt:lpwstr>Becker Werner OL14</vt:lpwstr>
  </property>
  <property fmtid="{D5CDD505-2E9C-101B-9397-08002B2CF9AE}" pid="5" name="orga">
    <vt:lpwstr/>
  </property>
  <property fmtid="{D5CDD505-2E9C-101B-9397-08002B2CF9AE}" pid="6" name="date">
    <vt:lpwstr>19.04.2021</vt:lpwstr>
  </property>
  <property fmtid="{D5CDD505-2E9C-101B-9397-08002B2CF9AE}" pid="7" name="MSIP_Label_3d921970-61b0-4443-b2b0-d966ab82c5d1_Enabled">
    <vt:lpwstr>true</vt:lpwstr>
  </property>
  <property fmtid="{D5CDD505-2E9C-101B-9397-08002B2CF9AE}" pid="8" name="MSIP_Label_3d921970-61b0-4443-b2b0-d966ab82c5d1_SetDate">
    <vt:lpwstr>2021-11-10T15:18:07Z</vt:lpwstr>
  </property>
  <property fmtid="{D5CDD505-2E9C-101B-9397-08002B2CF9AE}" pid="9" name="MSIP_Label_3d921970-61b0-4443-b2b0-d966ab82c5d1_Method">
    <vt:lpwstr>Standard</vt:lpwstr>
  </property>
  <property fmtid="{D5CDD505-2E9C-101B-9397-08002B2CF9AE}" pid="10" name="MSIP_Label_3d921970-61b0-4443-b2b0-d966ab82c5d1_Name">
    <vt:lpwstr>Internal</vt:lpwstr>
  </property>
  <property fmtid="{D5CDD505-2E9C-101B-9397-08002B2CF9AE}" pid="11" name="MSIP_Label_3d921970-61b0-4443-b2b0-d966ab82c5d1_SiteId">
    <vt:lpwstr>492ac175-0fcd-4d6c-8fde-e15c70d1986b</vt:lpwstr>
  </property>
  <property fmtid="{D5CDD505-2E9C-101B-9397-08002B2CF9AE}" pid="12" name="MSIP_Label_3d921970-61b0-4443-b2b0-d966ab82c5d1_ActionId">
    <vt:lpwstr>ad8fa441-8308-4029-86da-c2289d3147cc</vt:lpwstr>
  </property>
  <property fmtid="{D5CDD505-2E9C-101B-9397-08002B2CF9AE}" pid="13" name="MSIP_Label_3d921970-61b0-4443-b2b0-d966ab82c5d1_ContentBits">
    <vt:lpwstr>2</vt:lpwstr>
  </property>
  <property fmtid="{D5CDD505-2E9C-101B-9397-08002B2CF9AE}" pid="14" name="Classification">
    <vt:lpwstr>Internal</vt:lpwstr>
  </property>
</Properties>
</file>